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5.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6.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7.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13.xml" ContentType="application/vnd.openxmlformats-officedocument.presentationml.tags+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24"/>
    <p:sldMasterId id="2147484229" r:id="rId25"/>
    <p:sldMasterId id="2147484270" r:id="rId26"/>
    <p:sldMasterId id="2147484321" r:id="rId27"/>
    <p:sldMasterId id="2147484368" r:id="rId28"/>
    <p:sldMasterId id="2147484417" r:id="rId29"/>
  </p:sldMasterIdLst>
  <p:notesMasterIdLst>
    <p:notesMasterId r:id="rId61"/>
  </p:notesMasterIdLst>
  <p:handoutMasterIdLst>
    <p:handoutMasterId r:id="rId62"/>
  </p:handoutMasterIdLst>
  <p:sldIdLst>
    <p:sldId id="329" r:id="rId30"/>
    <p:sldId id="317" r:id="rId31"/>
    <p:sldId id="318" r:id="rId32"/>
    <p:sldId id="330" r:id="rId33"/>
    <p:sldId id="277" r:id="rId34"/>
    <p:sldId id="279" r:id="rId35"/>
    <p:sldId id="280" r:id="rId36"/>
    <p:sldId id="607" r:id="rId37"/>
    <p:sldId id="608" r:id="rId38"/>
    <p:sldId id="457" r:id="rId39"/>
    <p:sldId id="327" r:id="rId40"/>
    <p:sldId id="326" r:id="rId41"/>
    <p:sldId id="285" r:id="rId42"/>
    <p:sldId id="322" r:id="rId43"/>
    <p:sldId id="331" r:id="rId44"/>
    <p:sldId id="289" r:id="rId45"/>
    <p:sldId id="290" r:id="rId46"/>
    <p:sldId id="604" r:id="rId47"/>
    <p:sldId id="291" r:id="rId48"/>
    <p:sldId id="301" r:id="rId49"/>
    <p:sldId id="319" r:id="rId50"/>
    <p:sldId id="332" r:id="rId51"/>
    <p:sldId id="302" r:id="rId52"/>
    <p:sldId id="315" r:id="rId53"/>
    <p:sldId id="309" r:id="rId54"/>
    <p:sldId id="310" r:id="rId55"/>
    <p:sldId id="311" r:id="rId56"/>
    <p:sldId id="312" r:id="rId57"/>
    <p:sldId id="313" r:id="rId58"/>
    <p:sldId id="304" r:id="rId59"/>
    <p:sldId id="323" r:id="rId6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DE1FFD5-51E7-46B9-A088-E16EC44D3189}">
          <p14:sldIdLst>
            <p14:sldId id="329"/>
            <p14:sldId id="317"/>
          </p14:sldIdLst>
        </p14:section>
        <p14:section name="Lesson 1" id="{AEEB9206-BF9A-4149-867D-9C483B90393C}">
          <p14:sldIdLst>
            <p14:sldId id="318"/>
            <p14:sldId id="330"/>
            <p14:sldId id="277"/>
            <p14:sldId id="279"/>
            <p14:sldId id="280"/>
            <p14:sldId id="607"/>
            <p14:sldId id="608"/>
            <p14:sldId id="457"/>
            <p14:sldId id="327"/>
            <p14:sldId id="326"/>
            <p14:sldId id="285"/>
          </p14:sldIdLst>
        </p14:section>
        <p14:section name="Lesson 2" id="{308B2710-D3AF-4C4B-BD2E-376131B90737}">
          <p14:sldIdLst>
            <p14:sldId id="322"/>
            <p14:sldId id="331"/>
            <p14:sldId id="289"/>
            <p14:sldId id="290"/>
            <p14:sldId id="604"/>
            <p14:sldId id="291"/>
            <p14:sldId id="301"/>
          </p14:sldIdLst>
        </p14:section>
        <p14:section name="Lesson 3" id="{C087DD7D-0D20-4ABD-AE01-12CD0E95637F}">
          <p14:sldIdLst>
            <p14:sldId id="319"/>
            <p14:sldId id="332"/>
            <p14:sldId id="302"/>
            <p14:sldId id="315"/>
            <p14:sldId id="309"/>
            <p14:sldId id="310"/>
            <p14:sldId id="311"/>
            <p14:sldId id="312"/>
            <p14:sldId id="313"/>
            <p14:sldId id="304"/>
            <p14:sldId id="32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DE434D-1F2A-D37E-60AE-F079A9D58EC6}" name="Filipe Moreira" initials="FM" userId="S::fimorei@microsoft.com::fa9bf1d2-47eb-439d-b2f4-ca03a48a6bbf" providerId="AD"/>
  <p188:author id="{B3A03A83-8476-0708-893D-02B86E8EADE6}" name="Nick Salch" initials="NS" userId="S::nicksalc@microsoft.com::47ab95ae-ac26-4648-966b-37822820099a" providerId="AD"/>
  <p188:author id="{3EAA0BB8-ADED-0607-8649-BECD004EB963}" name="Felipe De Assis" initials="FDA" userId="S::fassis@microsoft.com::fedc4fe9-b909-48c3-b8ca-78d40727f11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525252"/>
    <a:srgbClr val="0078D7"/>
    <a:srgbClr val="00188F"/>
    <a:srgbClr val="107C10"/>
    <a:srgbClr val="008272"/>
    <a:srgbClr val="B4009E"/>
    <a:srgbClr val="00BCF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1672FB-A962-499F-8C3D-9F4ED96A315E}" v="1" dt="2020-11-03T19:16:20.0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46573" autoAdjust="0"/>
  </p:normalViewPr>
  <p:slideViewPr>
    <p:cSldViewPr snapToGrid="0">
      <p:cViewPr varScale="1">
        <p:scale>
          <a:sx n="28" d="100"/>
          <a:sy n="28" d="100"/>
        </p:scale>
        <p:origin x="1522" y="3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3.xml"/><Relationship Id="rId21" Type="http://schemas.openxmlformats.org/officeDocument/2006/relationships/customXml" Target="../customXml/item21.xml"/><Relationship Id="rId42" Type="http://schemas.openxmlformats.org/officeDocument/2006/relationships/slide" Target="slides/slide13.xml"/><Relationship Id="rId47" Type="http://schemas.openxmlformats.org/officeDocument/2006/relationships/slide" Target="slides/slide18.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Master" Target="slideMasters/slideMaster6.xml"/><Relationship Id="rId11" Type="http://schemas.openxmlformats.org/officeDocument/2006/relationships/customXml" Target="../customXml/item11.xml"/><Relationship Id="rId24" Type="http://schemas.openxmlformats.org/officeDocument/2006/relationships/slideMaster" Target="slideMasters/slideMaster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slide" Target="slides/slide24.xml"/><Relationship Id="rId58" Type="http://schemas.openxmlformats.org/officeDocument/2006/relationships/slide" Target="slides/slide29.xml"/><Relationship Id="rId66"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notesMaster" Target="notesMasters/notesMaster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slide" Target="slides/slide19.xml"/><Relationship Id="rId56" Type="http://schemas.openxmlformats.org/officeDocument/2006/relationships/slide" Target="slides/slide27.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22.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59" Type="http://schemas.openxmlformats.org/officeDocument/2006/relationships/slide" Target="slides/slide30.xml"/><Relationship Id="rId67" Type="http://schemas.openxmlformats.org/officeDocument/2006/relationships/tableStyles" Target="tableStyles.xml"/><Relationship Id="rId20" Type="http://schemas.openxmlformats.org/officeDocument/2006/relationships/customXml" Target="../customXml/item20.xml"/><Relationship Id="rId41" Type="http://schemas.openxmlformats.org/officeDocument/2006/relationships/slide" Target="slides/slide12.xml"/><Relationship Id="rId54" Type="http://schemas.openxmlformats.org/officeDocument/2006/relationships/slide" Target="slides/slide25.xml"/><Relationship Id="rId62" Type="http://schemas.openxmlformats.org/officeDocument/2006/relationships/handoutMaster" Target="handoutMasters/handoutMaster1.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5.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 Id="rId10" Type="http://schemas.openxmlformats.org/officeDocument/2006/relationships/customXml" Target="../customXml/item10.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slide" Target="slides/slide31.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0.xml"/><Relationship Id="rId34" Type="http://schemas.openxmlformats.org/officeDocument/2006/relationships/slide" Target="slides/slide5.xml"/><Relationship Id="rId50" Type="http://schemas.openxmlformats.org/officeDocument/2006/relationships/slide" Target="slides/slide21.xml"/><Relationship Id="rId55" Type="http://schemas.openxmlformats.org/officeDocument/2006/relationships/slide" Target="slides/slide2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as Soukoff" userId="21d930ff-8613-4aee-bfc8-658aaa7e309c" providerId="ADAL" clId="{B41672FB-A962-499F-8C3D-9F4ED96A315E}"/>
    <pc:docChg chg="modSld">
      <pc:chgData name="Nicolas Soukoff" userId="21d930ff-8613-4aee-bfc8-658aaa7e309c" providerId="ADAL" clId="{B41672FB-A962-499F-8C3D-9F4ED96A315E}" dt="2020-11-03T19:16:20.035" v="0"/>
      <pc:docMkLst>
        <pc:docMk/>
      </pc:docMkLst>
      <pc:sldChg chg="modSp">
        <pc:chgData name="Nicolas Soukoff" userId="21d930ff-8613-4aee-bfc8-658aaa7e309c" providerId="ADAL" clId="{B41672FB-A962-499F-8C3D-9F4ED96A315E}" dt="2020-11-03T19:16:20.035" v="0"/>
        <pc:sldMkLst>
          <pc:docMk/>
          <pc:sldMk cId="4070320751" sldId="279"/>
        </pc:sldMkLst>
        <pc:graphicFrameChg chg="mod">
          <ac:chgData name="Nicolas Soukoff" userId="21d930ff-8613-4aee-bfc8-658aaa7e309c" providerId="ADAL" clId="{B41672FB-A962-499F-8C3D-9F4ED96A315E}" dt="2020-11-03T19:16:20.035" v="0"/>
          <ac:graphicFrameMkLst>
            <pc:docMk/>
            <pc:sldMk cId="4070320751" sldId="279"/>
            <ac:graphicFrameMk id="2" creationId="{B2F71C8C-6B1D-4C28-A45B-B792A003AE4E}"/>
          </ac:graphicFrameMkLst>
        </pc:graphicFrameChg>
      </pc:sldChg>
    </pc:docChg>
  </pc:docChgLst>
  <pc:docChgLst>
    <pc:chgData name="Daniel Crawford" userId="7b170b08-7af0-413f-86fa-96fac1063a25" providerId="ADAL" clId="{F6AEA96D-46A3-44C7-8459-15C0794B8CB3}"/>
    <pc:docChg chg="custSel addSld modSld">
      <pc:chgData name="Daniel Crawford" userId="7b170b08-7af0-413f-86fa-96fac1063a25" providerId="ADAL" clId="{F6AEA96D-46A3-44C7-8459-15C0794B8CB3}" dt="2019-04-12T13:54:13.400" v="354" actId="20577"/>
      <pc:docMkLst>
        <pc:docMk/>
      </pc:docMkLst>
      <pc:sldChg chg="modTransition">
        <pc:chgData name="Daniel Crawford" userId="7b170b08-7af0-413f-86fa-96fac1063a25" providerId="ADAL" clId="{F6AEA96D-46A3-44C7-8459-15C0794B8CB3}" dt="2019-04-12T13:44:43.186" v="0"/>
        <pc:sldMkLst>
          <pc:docMk/>
          <pc:sldMk cId="2313558554" sldId="293"/>
        </pc:sldMkLst>
      </pc:sldChg>
      <pc:sldChg chg="delSp modSp add">
        <pc:chgData name="Daniel Crawford" userId="7b170b08-7af0-413f-86fa-96fac1063a25" providerId="ADAL" clId="{F6AEA96D-46A3-44C7-8459-15C0794B8CB3}" dt="2019-04-12T13:54:13.400" v="354" actId="20577"/>
        <pc:sldMkLst>
          <pc:docMk/>
          <pc:sldMk cId="1520348436" sldId="315"/>
        </pc:sldMkLst>
        <pc:spChg chg="mod">
          <ac:chgData name="Daniel Crawford" userId="7b170b08-7af0-413f-86fa-96fac1063a25" providerId="ADAL" clId="{F6AEA96D-46A3-44C7-8459-15C0794B8CB3}" dt="2019-04-12T13:51:11.757" v="16" actId="20577"/>
          <ac:spMkLst>
            <pc:docMk/>
            <pc:sldMk cId="1520348436" sldId="315"/>
            <ac:spMk id="2" creationId="{00000000-0000-0000-0000-000000000000}"/>
          </ac:spMkLst>
        </pc:spChg>
        <pc:spChg chg="mod">
          <ac:chgData name="Daniel Crawford" userId="7b170b08-7af0-413f-86fa-96fac1063a25" providerId="ADAL" clId="{F6AEA96D-46A3-44C7-8459-15C0794B8CB3}" dt="2019-04-12T13:54:13.400" v="354" actId="20577"/>
          <ac:spMkLst>
            <pc:docMk/>
            <pc:sldMk cId="1520348436" sldId="315"/>
            <ac:spMk id="3" creationId="{00000000-0000-0000-0000-000000000000}"/>
          </ac:spMkLst>
        </pc:spChg>
        <pc:spChg chg="del">
          <ac:chgData name="Daniel Crawford" userId="7b170b08-7af0-413f-86fa-96fac1063a25" providerId="ADAL" clId="{F6AEA96D-46A3-44C7-8459-15C0794B8CB3}" dt="2019-04-12T13:54:09.966" v="353" actId="21"/>
          <ac:spMkLst>
            <pc:docMk/>
            <pc:sldMk cId="1520348436" sldId="315"/>
            <ac:spMk id="4" creationId="{00000000-0000-0000-0000-000000000000}"/>
          </ac:spMkLst>
        </pc:spChg>
      </pc:sldChg>
    </pc:docChg>
  </pc:docChgLst>
  <pc:docChgLst>
    <pc:chgData name="Nick Salch" userId="47ab95ae-ac26-4648-966b-37822820099a" providerId="ADAL" clId="{0A491222-7EA4-40A4-B7B0-8A2ABEF86741}"/>
    <pc:docChg chg="">
      <pc:chgData name="Nick Salch" userId="47ab95ae-ac26-4648-966b-37822820099a" providerId="ADAL" clId="{0A491222-7EA4-40A4-B7B0-8A2ABEF86741}" dt="2020-06-23T18:24:33.312" v="1"/>
      <pc:docMkLst>
        <pc:docMk/>
      </pc:docMkLst>
      <pc:sldChg chg="addCm">
        <pc:chgData name="Nick Salch" userId="47ab95ae-ac26-4648-966b-37822820099a" providerId="ADAL" clId="{0A491222-7EA4-40A4-B7B0-8A2ABEF86741}" dt="2020-06-23T18:24:33.312" v="1"/>
        <pc:sldMkLst>
          <pc:docMk/>
          <pc:sldMk cId="1520348436" sldId="315"/>
        </pc:sldMkLst>
      </pc:sldChg>
      <pc:sldChg chg="addCm">
        <pc:chgData name="Nick Salch" userId="47ab95ae-ac26-4648-966b-37822820099a" providerId="ADAL" clId="{0A491222-7EA4-40A4-B7B0-8A2ABEF86741}" dt="2020-06-23T18:18:16.109" v="0"/>
        <pc:sldMkLst>
          <pc:docMk/>
          <pc:sldMk cId="336616292" sldId="322"/>
        </pc:sldMkLst>
      </pc:sldChg>
    </pc:docChg>
  </pc:docChgLst>
  <pc:docChgLst>
    <pc:chgData name="Filipe Moreira" userId="S::fimorei@microsoft.com::fa9bf1d2-47eb-439d-b2f4-ca03a48a6bbf" providerId="AD" clId="Web-{CA8A57DF-E2C3-329C-D17D-2138E23D1D0D}"/>
    <pc:docChg chg="mod">
      <pc:chgData name="Filipe Moreira" userId="S::fimorei@microsoft.com::fa9bf1d2-47eb-439d-b2f4-ca03a48a6bbf" providerId="AD" clId="Web-{CA8A57DF-E2C3-329C-D17D-2138E23D1D0D}" dt="2020-06-22T14:56:46.470" v="2"/>
      <pc:docMkLst>
        <pc:docMk/>
      </pc:docMkLst>
      <pc:sldChg chg="modCm">
        <pc:chgData name="Filipe Moreira" userId="S::fimorei@microsoft.com::fa9bf1d2-47eb-439d-b2f4-ca03a48a6bbf" providerId="AD" clId="Web-{CA8A57DF-E2C3-329C-D17D-2138E23D1D0D}" dt="2020-06-22T14:56:46.470" v="2"/>
        <pc:sldMkLst>
          <pc:docMk/>
          <pc:sldMk cId="2041083804" sldId="292"/>
        </pc:sldMkLst>
      </pc:sldChg>
    </pc:docChg>
  </pc:docChgLst>
  <pc:docChgLst>
    <pc:chgData name="Filipe Moreira" userId="S::fimorei@microsoft.com::fa9bf1d2-47eb-439d-b2f4-ca03a48a6bbf" providerId="AD" clId="Web-{BBE9ABB7-B625-65C2-125B-B34E32BA6B6A}"/>
    <pc:docChg chg="delSld modSection">
      <pc:chgData name="Filipe Moreira" userId="S::fimorei@microsoft.com::fa9bf1d2-47eb-439d-b2f4-ca03a48a6bbf" providerId="AD" clId="Web-{BBE9ABB7-B625-65C2-125B-B34E32BA6B6A}" dt="2020-06-25T14:20:21.426" v="3"/>
      <pc:docMkLst>
        <pc:docMk/>
      </pc:docMkLst>
      <pc:sldChg chg="del">
        <pc:chgData name="Filipe Moreira" userId="S::fimorei@microsoft.com::fa9bf1d2-47eb-439d-b2f4-ca03a48a6bbf" providerId="AD" clId="Web-{BBE9ABB7-B625-65C2-125B-B34E32BA6B6A}" dt="2020-06-25T14:20:21.411" v="2"/>
        <pc:sldMkLst>
          <pc:docMk/>
          <pc:sldMk cId="1318701438" sldId="294"/>
        </pc:sldMkLst>
      </pc:sldChg>
      <pc:sldChg chg="del">
        <pc:chgData name="Filipe Moreira" userId="S::fimorei@microsoft.com::fa9bf1d2-47eb-439d-b2f4-ca03a48a6bbf" providerId="AD" clId="Web-{BBE9ABB7-B625-65C2-125B-B34E32BA6B6A}" dt="2020-06-25T14:20:21.411" v="1"/>
        <pc:sldMkLst>
          <pc:docMk/>
          <pc:sldMk cId="1072450542" sldId="295"/>
        </pc:sldMkLst>
      </pc:sldChg>
      <pc:sldChg chg="del">
        <pc:chgData name="Filipe Moreira" userId="S::fimorei@microsoft.com::fa9bf1d2-47eb-439d-b2f4-ca03a48a6bbf" providerId="AD" clId="Web-{BBE9ABB7-B625-65C2-125B-B34E32BA6B6A}" dt="2020-06-25T14:20:21.411" v="0"/>
        <pc:sldMkLst>
          <pc:docMk/>
          <pc:sldMk cId="2948749846" sldId="296"/>
        </pc:sldMkLst>
      </pc:sldChg>
      <pc:sldChg chg="del">
        <pc:chgData name="Filipe Moreira" userId="S::fimorei@microsoft.com::fa9bf1d2-47eb-439d-b2f4-ca03a48a6bbf" providerId="AD" clId="Web-{BBE9ABB7-B625-65C2-125B-B34E32BA6B6A}" dt="2020-06-25T14:20:21.426" v="3"/>
        <pc:sldMkLst>
          <pc:docMk/>
          <pc:sldMk cId="2979019530" sldId="325"/>
        </pc:sldMkLst>
      </pc:sldChg>
    </pc:docChg>
  </pc:docChgLst>
  <pc:docChgLst>
    <pc:chgData name="Tiago Balabuch" userId="a1aaee52-02fd-41d4-84a6-8b7770b39aa7" providerId="ADAL" clId="{D93C8995-F19D-4C15-9BE0-AA761018E721}"/>
    <pc:docChg chg="modSld">
      <pc:chgData name="Tiago Balabuch" userId="a1aaee52-02fd-41d4-84a6-8b7770b39aa7" providerId="ADAL" clId="{D93C8995-F19D-4C15-9BE0-AA761018E721}" dt="2020-06-17T13:17:23.777" v="2" actId="14100"/>
      <pc:docMkLst>
        <pc:docMk/>
      </pc:docMkLst>
      <pc:sldChg chg="modSp">
        <pc:chgData name="Tiago Balabuch" userId="a1aaee52-02fd-41d4-84a6-8b7770b39aa7" providerId="ADAL" clId="{D93C8995-F19D-4C15-9BE0-AA761018E721}" dt="2020-06-17T12:45:54.673" v="1" actId="20577"/>
        <pc:sldMkLst>
          <pc:docMk/>
          <pc:sldMk cId="3686692616" sldId="280"/>
        </pc:sldMkLst>
        <pc:graphicFrameChg chg="mod">
          <ac:chgData name="Tiago Balabuch" userId="a1aaee52-02fd-41d4-84a6-8b7770b39aa7" providerId="ADAL" clId="{D93C8995-F19D-4C15-9BE0-AA761018E721}" dt="2020-06-17T12:45:54.673" v="1" actId="20577"/>
          <ac:graphicFrameMkLst>
            <pc:docMk/>
            <pc:sldMk cId="3686692616" sldId="280"/>
            <ac:graphicFrameMk id="2" creationId="{CB2717BB-96FF-4D14-B18F-665529B2F382}"/>
          </ac:graphicFrameMkLst>
        </pc:graphicFrameChg>
      </pc:sldChg>
      <pc:sldChg chg="modSp mod">
        <pc:chgData name="Tiago Balabuch" userId="a1aaee52-02fd-41d4-84a6-8b7770b39aa7" providerId="ADAL" clId="{D93C8995-F19D-4C15-9BE0-AA761018E721}" dt="2020-06-17T13:17:23.777" v="2" actId="14100"/>
        <pc:sldMkLst>
          <pc:docMk/>
          <pc:sldMk cId="555180019" sldId="288"/>
        </pc:sldMkLst>
        <pc:spChg chg="mod">
          <ac:chgData name="Tiago Balabuch" userId="a1aaee52-02fd-41d4-84a6-8b7770b39aa7" providerId="ADAL" clId="{D93C8995-F19D-4C15-9BE0-AA761018E721}" dt="2020-06-17T13:17:23.777" v="2" actId="14100"/>
          <ac:spMkLst>
            <pc:docMk/>
            <pc:sldMk cId="555180019" sldId="288"/>
            <ac:spMk id="1644" creationId="{00000000-0000-0000-0000-000000000000}"/>
          </ac:spMkLst>
        </pc:spChg>
      </pc:sldChg>
    </pc:docChg>
  </pc:docChgLst>
  <pc:docChgLst>
    <pc:chgData name="Felipe De Assis" userId="fedc4fe9-b909-48c3-b8ca-78d40727f114" providerId="ADAL" clId="{E882D7E5-A930-418E-BCAD-40B1D653679C}"/>
    <pc:docChg chg="undo redo custSel addSld delSld modSld modSection">
      <pc:chgData name="Felipe De Assis" userId="fedc4fe9-b909-48c3-b8ca-78d40727f114" providerId="ADAL" clId="{E882D7E5-A930-418E-BCAD-40B1D653679C}" dt="2020-07-09T04:33:45" v="739" actId="20577"/>
      <pc:docMkLst>
        <pc:docMk/>
      </pc:docMkLst>
      <pc:sldChg chg="modSp mod addCm delCm">
        <pc:chgData name="Felipe De Assis" userId="fedc4fe9-b909-48c3-b8ca-78d40727f114" providerId="ADAL" clId="{E882D7E5-A930-418E-BCAD-40B1D653679C}" dt="2020-06-22T19:18:34.505" v="404"/>
        <pc:sldMkLst>
          <pc:docMk/>
          <pc:sldMk cId="1231228165" sldId="277"/>
        </pc:sldMkLst>
        <pc:spChg chg="mod">
          <ac:chgData name="Felipe De Assis" userId="fedc4fe9-b909-48c3-b8ca-78d40727f114" providerId="ADAL" clId="{E882D7E5-A930-418E-BCAD-40B1D653679C}" dt="2020-06-22T14:28:12.757" v="5" actId="1076"/>
          <ac:spMkLst>
            <pc:docMk/>
            <pc:sldMk cId="1231228165" sldId="277"/>
            <ac:spMk id="5" creationId="{E924011A-EC88-4D63-9EE0-4BB639510411}"/>
          </ac:spMkLst>
        </pc:spChg>
        <pc:spChg chg="mod">
          <ac:chgData name="Felipe De Assis" userId="fedc4fe9-b909-48c3-b8ca-78d40727f114" providerId="ADAL" clId="{E882D7E5-A930-418E-BCAD-40B1D653679C}" dt="2020-06-22T14:28:24.833" v="7" actId="1076"/>
          <ac:spMkLst>
            <pc:docMk/>
            <pc:sldMk cId="1231228165" sldId="277"/>
            <ac:spMk id="6" creationId="{F230A653-C3E8-43F0-92CD-D5FD5F50AED7}"/>
          </ac:spMkLst>
        </pc:spChg>
        <pc:spChg chg="mod">
          <ac:chgData name="Felipe De Assis" userId="fedc4fe9-b909-48c3-b8ca-78d40727f114" providerId="ADAL" clId="{E882D7E5-A930-418E-BCAD-40B1D653679C}" dt="2020-06-22T14:28:18.252" v="6" actId="1076"/>
          <ac:spMkLst>
            <pc:docMk/>
            <pc:sldMk cId="1231228165" sldId="277"/>
            <ac:spMk id="7" creationId="{7703E491-D535-4A49-BB51-021F86749E71}"/>
          </ac:spMkLst>
        </pc:spChg>
        <pc:graphicFrameChg chg="mod">
          <ac:chgData name="Felipe De Assis" userId="fedc4fe9-b909-48c3-b8ca-78d40727f114" providerId="ADAL" clId="{E882D7E5-A930-418E-BCAD-40B1D653679C}" dt="2020-06-22T14:28:32.269" v="8" actId="1076"/>
          <ac:graphicFrameMkLst>
            <pc:docMk/>
            <pc:sldMk cId="1231228165" sldId="277"/>
            <ac:graphicFrameMk id="4" creationId="{F8951C77-565F-4165-9F65-2C4621D83B72}"/>
          </ac:graphicFrameMkLst>
        </pc:graphicFrameChg>
      </pc:sldChg>
      <pc:sldChg chg="modSp">
        <pc:chgData name="Felipe De Assis" userId="fedc4fe9-b909-48c3-b8ca-78d40727f114" providerId="ADAL" clId="{E882D7E5-A930-418E-BCAD-40B1D653679C}" dt="2020-06-22T20:10:55.271" v="534" actId="1035"/>
        <pc:sldMkLst>
          <pc:docMk/>
          <pc:sldMk cId="4070320751" sldId="279"/>
        </pc:sldMkLst>
        <pc:graphicFrameChg chg="mod">
          <ac:chgData name="Felipe De Assis" userId="fedc4fe9-b909-48c3-b8ca-78d40727f114" providerId="ADAL" clId="{E882D7E5-A930-418E-BCAD-40B1D653679C}" dt="2020-06-22T20:10:55.271" v="534" actId="1035"/>
          <ac:graphicFrameMkLst>
            <pc:docMk/>
            <pc:sldMk cId="4070320751" sldId="279"/>
            <ac:graphicFrameMk id="2" creationId="{B2F71C8C-6B1D-4C28-A45B-B792A003AE4E}"/>
          </ac:graphicFrameMkLst>
        </pc:graphicFrameChg>
      </pc:sldChg>
      <pc:sldChg chg="modSp modNotesTx">
        <pc:chgData name="Felipe De Assis" userId="fedc4fe9-b909-48c3-b8ca-78d40727f114" providerId="ADAL" clId="{E882D7E5-A930-418E-BCAD-40B1D653679C}" dt="2020-06-22T20:11:00.399" v="537" actId="1036"/>
        <pc:sldMkLst>
          <pc:docMk/>
          <pc:sldMk cId="3686692616" sldId="280"/>
        </pc:sldMkLst>
        <pc:graphicFrameChg chg="mod">
          <ac:chgData name="Felipe De Assis" userId="fedc4fe9-b909-48c3-b8ca-78d40727f114" providerId="ADAL" clId="{E882D7E5-A930-418E-BCAD-40B1D653679C}" dt="2020-06-22T20:11:00.399" v="537" actId="1036"/>
          <ac:graphicFrameMkLst>
            <pc:docMk/>
            <pc:sldMk cId="3686692616" sldId="280"/>
            <ac:graphicFrameMk id="2" creationId="{CB2717BB-96FF-4D14-B18F-665529B2F382}"/>
          </ac:graphicFrameMkLst>
        </pc:graphicFrameChg>
      </pc:sldChg>
      <pc:sldChg chg="modSp">
        <pc:chgData name="Felipe De Assis" userId="fedc4fe9-b909-48c3-b8ca-78d40727f114" providerId="ADAL" clId="{E882D7E5-A930-418E-BCAD-40B1D653679C}" dt="2020-06-22T14:39:46.858" v="16" actId="255"/>
        <pc:sldMkLst>
          <pc:docMk/>
          <pc:sldMk cId="2189783365" sldId="282"/>
        </pc:sldMkLst>
        <pc:graphicFrameChg chg="mod">
          <ac:chgData name="Felipe De Assis" userId="fedc4fe9-b909-48c3-b8ca-78d40727f114" providerId="ADAL" clId="{E882D7E5-A930-418E-BCAD-40B1D653679C}" dt="2020-06-22T14:39:46.858" v="16" actId="255"/>
          <ac:graphicFrameMkLst>
            <pc:docMk/>
            <pc:sldMk cId="2189783365" sldId="282"/>
            <ac:graphicFrameMk id="4" creationId="{7527D1DA-1E34-4C9E-874B-D0B6DCE9B163}"/>
          </ac:graphicFrameMkLst>
        </pc:graphicFrameChg>
      </pc:sldChg>
      <pc:sldChg chg="modSp">
        <pc:chgData name="Felipe De Assis" userId="fedc4fe9-b909-48c3-b8ca-78d40727f114" providerId="ADAL" clId="{E882D7E5-A930-418E-BCAD-40B1D653679C}" dt="2020-06-22T14:40:31.751" v="27" actId="1036"/>
        <pc:sldMkLst>
          <pc:docMk/>
          <pc:sldMk cId="617746162" sldId="283"/>
        </pc:sldMkLst>
        <pc:graphicFrameChg chg="mod">
          <ac:chgData name="Felipe De Assis" userId="fedc4fe9-b909-48c3-b8ca-78d40727f114" providerId="ADAL" clId="{E882D7E5-A930-418E-BCAD-40B1D653679C}" dt="2020-06-22T14:40:31.751" v="27" actId="1036"/>
          <ac:graphicFrameMkLst>
            <pc:docMk/>
            <pc:sldMk cId="617746162" sldId="283"/>
            <ac:graphicFrameMk id="4" creationId="{62F52965-5030-4DB7-835F-DB3B199CCF37}"/>
          </ac:graphicFrameMkLst>
        </pc:graphicFrameChg>
      </pc:sldChg>
      <pc:sldChg chg="modSp">
        <pc:chgData name="Felipe De Assis" userId="fedc4fe9-b909-48c3-b8ca-78d40727f114" providerId="ADAL" clId="{E882D7E5-A930-418E-BCAD-40B1D653679C}" dt="2020-06-22T19:09:41.444" v="387" actId="404"/>
        <pc:sldMkLst>
          <pc:docMk/>
          <pc:sldMk cId="3076810162" sldId="285"/>
        </pc:sldMkLst>
        <pc:graphicFrameChg chg="mod">
          <ac:chgData name="Felipe De Assis" userId="fedc4fe9-b909-48c3-b8ca-78d40727f114" providerId="ADAL" clId="{E882D7E5-A930-418E-BCAD-40B1D653679C}" dt="2020-06-22T19:09:41.444" v="387" actId="404"/>
          <ac:graphicFrameMkLst>
            <pc:docMk/>
            <pc:sldMk cId="3076810162" sldId="285"/>
            <ac:graphicFrameMk id="3" creationId="{C1C185F5-318A-4783-BB64-0B012022B5A6}"/>
          </ac:graphicFrameMkLst>
        </pc:graphicFrameChg>
      </pc:sldChg>
      <pc:sldChg chg="modSp mod">
        <pc:chgData name="Felipe De Assis" userId="fedc4fe9-b909-48c3-b8ca-78d40727f114" providerId="ADAL" clId="{E882D7E5-A930-418E-BCAD-40B1D653679C}" dt="2020-06-22T14:43:44.545" v="35" actId="1076"/>
        <pc:sldMkLst>
          <pc:docMk/>
          <pc:sldMk cId="877002824" sldId="286"/>
        </pc:sldMkLst>
        <pc:graphicFrameChg chg="mod">
          <ac:chgData name="Felipe De Assis" userId="fedc4fe9-b909-48c3-b8ca-78d40727f114" providerId="ADAL" clId="{E882D7E5-A930-418E-BCAD-40B1D653679C}" dt="2020-06-22T14:43:44.545" v="35" actId="1076"/>
          <ac:graphicFrameMkLst>
            <pc:docMk/>
            <pc:sldMk cId="877002824" sldId="286"/>
            <ac:graphicFrameMk id="4" creationId="{EFFF20FA-DDA2-4793-BA85-2BE8A7E3B36E}"/>
          </ac:graphicFrameMkLst>
        </pc:graphicFrameChg>
      </pc:sldChg>
      <pc:sldChg chg="del">
        <pc:chgData name="Felipe De Assis" userId="fedc4fe9-b909-48c3-b8ca-78d40727f114" providerId="ADAL" clId="{E882D7E5-A930-418E-BCAD-40B1D653679C}" dt="2020-06-22T19:09:08.198" v="384" actId="2696"/>
        <pc:sldMkLst>
          <pc:docMk/>
          <pc:sldMk cId="555180019" sldId="288"/>
        </pc:sldMkLst>
      </pc:sldChg>
      <pc:sldChg chg="modSp">
        <pc:chgData name="Felipe De Assis" userId="fedc4fe9-b909-48c3-b8ca-78d40727f114" providerId="ADAL" clId="{E882D7E5-A930-418E-BCAD-40B1D653679C}" dt="2020-06-22T14:44:52.229" v="40" actId="1036"/>
        <pc:sldMkLst>
          <pc:docMk/>
          <pc:sldMk cId="154391681" sldId="290"/>
        </pc:sldMkLst>
        <pc:graphicFrameChg chg="mod">
          <ac:chgData name="Felipe De Assis" userId="fedc4fe9-b909-48c3-b8ca-78d40727f114" providerId="ADAL" clId="{E882D7E5-A930-418E-BCAD-40B1D653679C}" dt="2020-06-22T14:44:52.229" v="40" actId="1036"/>
          <ac:graphicFrameMkLst>
            <pc:docMk/>
            <pc:sldMk cId="154391681" sldId="290"/>
            <ac:graphicFrameMk id="4" creationId="{F4E0CEB4-1EDC-4E6A-BB02-78354D86C985}"/>
          </ac:graphicFrameMkLst>
        </pc:graphicFrameChg>
      </pc:sldChg>
      <pc:sldChg chg="delSp modSp mod addCm modCm">
        <pc:chgData name="Felipe De Assis" userId="fedc4fe9-b909-48c3-b8ca-78d40727f114" providerId="ADAL" clId="{E882D7E5-A930-418E-BCAD-40B1D653679C}" dt="2020-06-22T15:02:30.068" v="178"/>
        <pc:sldMkLst>
          <pc:docMk/>
          <pc:sldMk cId="2041083804" sldId="292"/>
        </pc:sldMkLst>
        <pc:spChg chg="mod">
          <ac:chgData name="Felipe De Assis" userId="fedc4fe9-b909-48c3-b8ca-78d40727f114" providerId="ADAL" clId="{E882D7E5-A930-418E-BCAD-40B1D653679C}" dt="2020-06-22T14:56:35.968" v="59" actId="403"/>
          <ac:spMkLst>
            <pc:docMk/>
            <pc:sldMk cId="2041083804" sldId="292"/>
            <ac:spMk id="4" creationId="{2BD34214-2A6D-4BF3-9994-0C93F23375BC}"/>
          </ac:spMkLst>
        </pc:spChg>
        <pc:spChg chg="mod">
          <ac:chgData name="Felipe De Assis" userId="fedc4fe9-b909-48c3-b8ca-78d40727f114" providerId="ADAL" clId="{E882D7E5-A930-418E-BCAD-40B1D653679C}" dt="2020-06-22T14:56:46.024" v="60" actId="1076"/>
          <ac:spMkLst>
            <pc:docMk/>
            <pc:sldMk cId="2041083804" sldId="292"/>
            <ac:spMk id="5" creationId="{00000000-0000-0000-0000-000000000000}"/>
          </ac:spMkLst>
        </pc:spChg>
        <pc:graphicFrameChg chg="del">
          <ac:chgData name="Felipe De Assis" userId="fedc4fe9-b909-48c3-b8ca-78d40727f114" providerId="ADAL" clId="{E882D7E5-A930-418E-BCAD-40B1D653679C}" dt="2020-06-22T14:55:38.785" v="44" actId="478"/>
          <ac:graphicFrameMkLst>
            <pc:docMk/>
            <pc:sldMk cId="2041083804" sldId="292"/>
            <ac:graphicFrameMk id="7" creationId="{8D54C87F-1E80-4F48-9F84-779CEA6E6553}"/>
          </ac:graphicFrameMkLst>
        </pc:graphicFrameChg>
      </pc:sldChg>
      <pc:sldChg chg="modSp mod modNotesTx">
        <pc:chgData name="Felipe De Assis" userId="fedc4fe9-b909-48c3-b8ca-78d40727f114" providerId="ADAL" clId="{E882D7E5-A930-418E-BCAD-40B1D653679C}" dt="2020-06-22T15:25:29.735" v="179" actId="20577"/>
        <pc:sldMkLst>
          <pc:docMk/>
          <pc:sldMk cId="1318701438" sldId="294"/>
        </pc:sldMkLst>
        <pc:spChg chg="mod">
          <ac:chgData name="Felipe De Assis" userId="fedc4fe9-b909-48c3-b8ca-78d40727f114" providerId="ADAL" clId="{E882D7E5-A930-418E-BCAD-40B1D653679C}" dt="2020-06-22T15:25:29.735" v="179" actId="20577"/>
          <ac:spMkLst>
            <pc:docMk/>
            <pc:sldMk cId="1318701438" sldId="294"/>
            <ac:spMk id="2" creationId="{00000000-0000-0000-0000-000000000000}"/>
          </ac:spMkLst>
        </pc:spChg>
        <pc:graphicFrameChg chg="mod modGraphic">
          <ac:chgData name="Felipe De Assis" userId="fedc4fe9-b909-48c3-b8ca-78d40727f114" providerId="ADAL" clId="{E882D7E5-A930-418E-BCAD-40B1D653679C}" dt="2020-06-22T14:59:44.115" v="148" actId="14100"/>
          <ac:graphicFrameMkLst>
            <pc:docMk/>
            <pc:sldMk cId="1318701438" sldId="294"/>
            <ac:graphicFrameMk id="4" creationId="{00000000-0000-0000-0000-000000000000}"/>
          </ac:graphicFrameMkLst>
        </pc:graphicFrameChg>
        <pc:graphicFrameChg chg="mod modGraphic">
          <ac:chgData name="Felipe De Assis" userId="fedc4fe9-b909-48c3-b8ca-78d40727f114" providerId="ADAL" clId="{E882D7E5-A930-418E-BCAD-40B1D653679C}" dt="2020-06-22T14:59:46.479" v="149" actId="14100"/>
          <ac:graphicFrameMkLst>
            <pc:docMk/>
            <pc:sldMk cId="1318701438" sldId="294"/>
            <ac:graphicFrameMk id="5" creationId="{00000000-0000-0000-0000-000000000000}"/>
          </ac:graphicFrameMkLst>
        </pc:graphicFrameChg>
      </pc:sldChg>
      <pc:sldChg chg="modSp mod">
        <pc:chgData name="Felipe De Assis" userId="fedc4fe9-b909-48c3-b8ca-78d40727f114" providerId="ADAL" clId="{E882D7E5-A930-418E-BCAD-40B1D653679C}" dt="2020-06-22T14:59:56.691" v="150" actId="1076"/>
        <pc:sldMkLst>
          <pc:docMk/>
          <pc:sldMk cId="1072450542" sldId="295"/>
        </pc:sldMkLst>
        <pc:graphicFrameChg chg="mod modGraphic">
          <ac:chgData name="Felipe De Assis" userId="fedc4fe9-b909-48c3-b8ca-78d40727f114" providerId="ADAL" clId="{E882D7E5-A930-418E-BCAD-40B1D653679C}" dt="2020-06-22T14:59:56.691" v="150" actId="1076"/>
          <ac:graphicFrameMkLst>
            <pc:docMk/>
            <pc:sldMk cId="1072450542" sldId="295"/>
            <ac:graphicFrameMk id="4" creationId="{00000000-0000-0000-0000-000000000000}"/>
          </ac:graphicFrameMkLst>
        </pc:graphicFrameChg>
      </pc:sldChg>
      <pc:sldChg chg="modSp del">
        <pc:chgData name="Felipe De Assis" userId="fedc4fe9-b909-48c3-b8ca-78d40727f114" providerId="ADAL" clId="{E882D7E5-A930-418E-BCAD-40B1D653679C}" dt="2020-06-22T19:14:38.283" v="392" actId="47"/>
        <pc:sldMkLst>
          <pc:docMk/>
          <pc:sldMk cId="3343308098" sldId="297"/>
        </pc:sldMkLst>
        <pc:graphicFrameChg chg="mod">
          <ac:chgData name="Felipe De Assis" userId="fedc4fe9-b909-48c3-b8ca-78d40727f114" providerId="ADAL" clId="{E882D7E5-A930-418E-BCAD-40B1D653679C}" dt="2020-06-22T19:13:17.394" v="391" actId="478"/>
          <ac:graphicFrameMkLst>
            <pc:docMk/>
            <pc:sldMk cId="3343308098" sldId="297"/>
            <ac:graphicFrameMk id="4" creationId="{654E446B-C5C3-452A-A2CD-6AD33F2D83E4}"/>
          </ac:graphicFrameMkLst>
        </pc:graphicFrameChg>
      </pc:sldChg>
      <pc:sldChg chg="modSp mod addCm modNotesTx">
        <pc:chgData name="Felipe De Assis" userId="fedc4fe9-b909-48c3-b8ca-78d40727f114" providerId="ADAL" clId="{E882D7E5-A930-418E-BCAD-40B1D653679C}" dt="2020-06-24T16:59:04.954" v="546"/>
        <pc:sldMkLst>
          <pc:docMk/>
          <pc:sldMk cId="3219276577" sldId="300"/>
        </pc:sldMkLst>
        <pc:spChg chg="mod">
          <ac:chgData name="Felipe De Assis" userId="fedc4fe9-b909-48c3-b8ca-78d40727f114" providerId="ADAL" clId="{E882D7E5-A930-418E-BCAD-40B1D653679C}" dt="2020-06-22T19:52:40.554" v="496" actId="1035"/>
          <ac:spMkLst>
            <pc:docMk/>
            <pc:sldMk cId="3219276577" sldId="300"/>
            <ac:spMk id="4" creationId="{00000000-0000-0000-0000-000000000000}"/>
          </ac:spMkLst>
        </pc:spChg>
        <pc:spChg chg="mod">
          <ac:chgData name="Felipe De Assis" userId="fedc4fe9-b909-48c3-b8ca-78d40727f114" providerId="ADAL" clId="{E882D7E5-A930-418E-BCAD-40B1D653679C}" dt="2020-06-22T19:52:40.554" v="496" actId="1035"/>
          <ac:spMkLst>
            <pc:docMk/>
            <pc:sldMk cId="3219276577" sldId="300"/>
            <ac:spMk id="5" creationId="{00000000-0000-0000-0000-000000000000}"/>
          </ac:spMkLst>
        </pc:spChg>
        <pc:spChg chg="mod">
          <ac:chgData name="Felipe De Assis" userId="fedc4fe9-b909-48c3-b8ca-78d40727f114" providerId="ADAL" clId="{E882D7E5-A930-418E-BCAD-40B1D653679C}" dt="2020-06-22T19:52:40.554" v="496" actId="1035"/>
          <ac:spMkLst>
            <pc:docMk/>
            <pc:sldMk cId="3219276577" sldId="300"/>
            <ac:spMk id="6" creationId="{00000000-0000-0000-0000-000000000000}"/>
          </ac:spMkLst>
        </pc:spChg>
        <pc:graphicFrameChg chg="mod">
          <ac:chgData name="Felipe De Assis" userId="fedc4fe9-b909-48c3-b8ca-78d40727f114" providerId="ADAL" clId="{E882D7E5-A930-418E-BCAD-40B1D653679C}" dt="2020-06-22T19:52:27.265" v="488" actId="404"/>
          <ac:graphicFrameMkLst>
            <pc:docMk/>
            <pc:sldMk cId="3219276577" sldId="300"/>
            <ac:graphicFrameMk id="7" creationId="{0BD702E3-8617-497B-BC11-6E7BABE6DA23}"/>
          </ac:graphicFrameMkLst>
        </pc:graphicFrameChg>
      </pc:sldChg>
      <pc:sldChg chg="addSp delSp modSp mod modNotesTx">
        <pc:chgData name="Felipe De Assis" userId="fedc4fe9-b909-48c3-b8ca-78d40727f114" providerId="ADAL" clId="{E882D7E5-A930-418E-BCAD-40B1D653679C}" dt="2020-07-09T04:32:02.213" v="578" actId="20577"/>
        <pc:sldMkLst>
          <pc:docMk/>
          <pc:sldMk cId="357505054" sldId="303"/>
        </pc:sldMkLst>
        <pc:spChg chg="del">
          <ac:chgData name="Felipe De Assis" userId="fedc4fe9-b909-48c3-b8ca-78d40727f114" providerId="ADAL" clId="{E882D7E5-A930-418E-BCAD-40B1D653679C}" dt="2020-07-09T04:31:53.314" v="549" actId="478"/>
          <ac:spMkLst>
            <pc:docMk/>
            <pc:sldMk cId="357505054" sldId="303"/>
            <ac:spMk id="2" creationId="{00000000-0000-0000-0000-000000000000}"/>
          </ac:spMkLst>
        </pc:spChg>
        <pc:spChg chg="mod">
          <ac:chgData name="Felipe De Assis" userId="fedc4fe9-b909-48c3-b8ca-78d40727f114" providerId="ADAL" clId="{E882D7E5-A930-418E-BCAD-40B1D653679C}" dt="2020-06-22T17:46:09.215" v="274" actId="14100"/>
          <ac:spMkLst>
            <pc:docMk/>
            <pc:sldMk cId="357505054" sldId="303"/>
            <ac:spMk id="3" creationId="{00000000-0000-0000-0000-000000000000}"/>
          </ac:spMkLst>
        </pc:spChg>
        <pc:spChg chg="add del mod">
          <ac:chgData name="Felipe De Assis" userId="fedc4fe9-b909-48c3-b8ca-78d40727f114" providerId="ADAL" clId="{E882D7E5-A930-418E-BCAD-40B1D653679C}" dt="2020-07-09T04:31:55.424" v="551" actId="478"/>
          <ac:spMkLst>
            <pc:docMk/>
            <pc:sldMk cId="357505054" sldId="303"/>
            <ac:spMk id="5" creationId="{07F08A00-6797-4F3C-89F8-E5111FD727A7}"/>
          </ac:spMkLst>
        </pc:spChg>
        <pc:spChg chg="mod">
          <ac:chgData name="Felipe De Assis" userId="fedc4fe9-b909-48c3-b8ca-78d40727f114" providerId="ADAL" clId="{E882D7E5-A930-418E-BCAD-40B1D653679C}" dt="2020-06-22T17:46:38.859" v="286" actId="20577"/>
          <ac:spMkLst>
            <pc:docMk/>
            <pc:sldMk cId="357505054" sldId="303"/>
            <ac:spMk id="7" creationId="{00000000-0000-0000-0000-000000000000}"/>
          </ac:spMkLst>
        </pc:spChg>
        <pc:spChg chg="add mod">
          <ac:chgData name="Felipe De Assis" userId="fedc4fe9-b909-48c3-b8ca-78d40727f114" providerId="ADAL" clId="{E882D7E5-A930-418E-BCAD-40B1D653679C}" dt="2020-07-09T04:32:02.213" v="578" actId="20577"/>
          <ac:spMkLst>
            <pc:docMk/>
            <pc:sldMk cId="357505054" sldId="303"/>
            <ac:spMk id="8" creationId="{1105BF03-E61A-41F1-9D05-118F81E5825D}"/>
          </ac:spMkLst>
        </pc:spChg>
      </pc:sldChg>
      <pc:sldChg chg="modSp mod">
        <pc:chgData name="Felipe De Assis" userId="fedc4fe9-b909-48c3-b8ca-78d40727f114" providerId="ADAL" clId="{E882D7E5-A930-418E-BCAD-40B1D653679C}" dt="2020-06-22T18:58:36.664" v="345" actId="1036"/>
        <pc:sldMkLst>
          <pc:docMk/>
          <pc:sldMk cId="2273931650" sldId="305"/>
        </pc:sldMkLst>
        <pc:spChg chg="mod">
          <ac:chgData name="Felipe De Assis" userId="fedc4fe9-b909-48c3-b8ca-78d40727f114" providerId="ADAL" clId="{E882D7E5-A930-418E-BCAD-40B1D653679C}" dt="2020-06-22T18:58:36.664" v="345" actId="1036"/>
          <ac:spMkLst>
            <pc:docMk/>
            <pc:sldMk cId="2273931650" sldId="305"/>
            <ac:spMk id="4" creationId="{BC32DEFB-0B18-4715-941C-4EECE900B9DF}"/>
          </ac:spMkLst>
        </pc:spChg>
        <pc:graphicFrameChg chg="mod">
          <ac:chgData name="Felipe De Assis" userId="fedc4fe9-b909-48c3-b8ca-78d40727f114" providerId="ADAL" clId="{E882D7E5-A930-418E-BCAD-40B1D653679C}" dt="2020-06-22T18:58:32.142" v="334" actId="1036"/>
          <ac:graphicFrameMkLst>
            <pc:docMk/>
            <pc:sldMk cId="2273931650" sldId="305"/>
            <ac:graphicFrameMk id="5" creationId="{32B726B2-5978-440D-95C1-DCD5473D3EC4}"/>
          </ac:graphicFrameMkLst>
        </pc:graphicFrameChg>
      </pc:sldChg>
      <pc:sldChg chg="modSp mod modNotesTx">
        <pc:chgData name="Felipe De Assis" userId="fedc4fe9-b909-48c3-b8ca-78d40727f114" providerId="ADAL" clId="{E882D7E5-A930-418E-BCAD-40B1D653679C}" dt="2020-06-22T19:20:56.160" v="411"/>
        <pc:sldMkLst>
          <pc:docMk/>
          <pc:sldMk cId="2572464404" sldId="306"/>
        </pc:sldMkLst>
        <pc:spChg chg="mod">
          <ac:chgData name="Felipe De Assis" userId="fedc4fe9-b909-48c3-b8ca-78d40727f114" providerId="ADAL" clId="{E882D7E5-A930-418E-BCAD-40B1D653679C}" dt="2020-06-22T19:01:03.796" v="383" actId="1036"/>
          <ac:spMkLst>
            <pc:docMk/>
            <pc:sldMk cId="2572464404" sldId="306"/>
            <ac:spMk id="5" creationId="{4C557205-16B4-4364-95E6-F19C7690AA68}"/>
          </ac:spMkLst>
        </pc:spChg>
        <pc:graphicFrameChg chg="mod">
          <ac:chgData name="Felipe De Assis" userId="fedc4fe9-b909-48c3-b8ca-78d40727f114" providerId="ADAL" clId="{E882D7E5-A930-418E-BCAD-40B1D653679C}" dt="2020-06-22T19:00:59.415" v="360" actId="1036"/>
          <ac:graphicFrameMkLst>
            <pc:docMk/>
            <pc:sldMk cId="2572464404" sldId="306"/>
            <ac:graphicFrameMk id="4" creationId="{A88F79DB-D372-4F48-A523-5F9BB5850D3F}"/>
          </ac:graphicFrameMkLst>
        </pc:graphicFrameChg>
      </pc:sldChg>
      <pc:sldChg chg="modNotesTx">
        <pc:chgData name="Felipe De Assis" userId="fedc4fe9-b909-48c3-b8ca-78d40727f114" providerId="ADAL" clId="{E882D7E5-A930-418E-BCAD-40B1D653679C}" dt="2020-07-09T04:33:45" v="739" actId="20577"/>
        <pc:sldMkLst>
          <pc:docMk/>
          <pc:sldMk cId="669815032" sldId="307"/>
        </pc:sldMkLst>
      </pc:sldChg>
      <pc:sldChg chg="modSp">
        <pc:chgData name="Felipe De Assis" userId="fedc4fe9-b909-48c3-b8ca-78d40727f114" providerId="ADAL" clId="{E882D7E5-A930-418E-BCAD-40B1D653679C}" dt="2020-06-22T18:41:05.613" v="324" actId="1036"/>
        <pc:sldMkLst>
          <pc:docMk/>
          <pc:sldMk cId="517656174" sldId="308"/>
        </pc:sldMkLst>
        <pc:graphicFrameChg chg="mod">
          <ac:chgData name="Felipe De Assis" userId="fedc4fe9-b909-48c3-b8ca-78d40727f114" providerId="ADAL" clId="{E882D7E5-A930-418E-BCAD-40B1D653679C}" dt="2020-06-22T18:41:05.613" v="324" actId="1036"/>
          <ac:graphicFrameMkLst>
            <pc:docMk/>
            <pc:sldMk cId="517656174" sldId="308"/>
            <ac:graphicFrameMk id="4" creationId="{D71CDBBB-5527-4062-91CC-ECDD416D968C}"/>
          </ac:graphicFrameMkLst>
        </pc:graphicFrameChg>
      </pc:sldChg>
      <pc:sldChg chg="modNotesTx">
        <pc:chgData name="Felipe De Assis" userId="fedc4fe9-b909-48c3-b8ca-78d40727f114" providerId="ADAL" clId="{E882D7E5-A930-418E-BCAD-40B1D653679C}" dt="2020-06-22T19:51:15.568" v="472"/>
        <pc:sldMkLst>
          <pc:docMk/>
          <pc:sldMk cId="793582559" sldId="309"/>
        </pc:sldMkLst>
      </pc:sldChg>
      <pc:sldChg chg="addSp delSp modSp mod">
        <pc:chgData name="Felipe De Assis" userId="fedc4fe9-b909-48c3-b8ca-78d40727f114" providerId="ADAL" clId="{E882D7E5-A930-418E-BCAD-40B1D653679C}" dt="2020-06-22T19:53:14.881" v="498" actId="403"/>
        <pc:sldMkLst>
          <pc:docMk/>
          <pc:sldMk cId="2570979657" sldId="310"/>
        </pc:sldMkLst>
        <pc:graphicFrameChg chg="add del modGraphic">
          <ac:chgData name="Felipe De Assis" userId="fedc4fe9-b909-48c3-b8ca-78d40727f114" providerId="ADAL" clId="{E882D7E5-A930-418E-BCAD-40B1D653679C}" dt="2020-06-22T16:33:29.330" v="200" actId="478"/>
          <ac:graphicFrameMkLst>
            <pc:docMk/>
            <pc:sldMk cId="2570979657" sldId="310"/>
            <ac:graphicFrameMk id="3" creationId="{A535AE30-4ED4-4D2D-92CE-B5F093A09F17}"/>
          </ac:graphicFrameMkLst>
        </pc:graphicFrameChg>
        <pc:graphicFrameChg chg="mod">
          <ac:chgData name="Felipe De Assis" userId="fedc4fe9-b909-48c3-b8ca-78d40727f114" providerId="ADAL" clId="{E882D7E5-A930-418E-BCAD-40B1D653679C}" dt="2020-06-22T19:53:14.881" v="498" actId="403"/>
          <ac:graphicFrameMkLst>
            <pc:docMk/>
            <pc:sldMk cId="2570979657" sldId="310"/>
            <ac:graphicFrameMk id="4" creationId="{06CDBE5A-89C8-4044-85AE-6CF81C09CF12}"/>
          </ac:graphicFrameMkLst>
        </pc:graphicFrameChg>
      </pc:sldChg>
      <pc:sldChg chg="addSp modSp mod modNotesTx">
        <pc:chgData name="Felipe De Assis" userId="fedc4fe9-b909-48c3-b8ca-78d40727f114" providerId="ADAL" clId="{E882D7E5-A930-418E-BCAD-40B1D653679C}" dt="2020-06-22T16:56:08.092" v="273" actId="403"/>
        <pc:sldMkLst>
          <pc:docMk/>
          <pc:sldMk cId="1654109084" sldId="312"/>
        </pc:sldMkLst>
        <pc:spChg chg="mod">
          <ac:chgData name="Felipe De Assis" userId="fedc4fe9-b909-48c3-b8ca-78d40727f114" providerId="ADAL" clId="{E882D7E5-A930-418E-BCAD-40B1D653679C}" dt="2020-06-22T16:56:08.092" v="273" actId="403"/>
          <ac:spMkLst>
            <pc:docMk/>
            <pc:sldMk cId="1654109084" sldId="312"/>
            <ac:spMk id="3" creationId="{00000000-0000-0000-0000-000000000000}"/>
          </ac:spMkLst>
        </pc:spChg>
        <pc:spChg chg="mod">
          <ac:chgData name="Felipe De Assis" userId="fedc4fe9-b909-48c3-b8ca-78d40727f114" providerId="ADAL" clId="{E882D7E5-A930-418E-BCAD-40B1D653679C}" dt="2020-06-22T16:55:54.234" v="268" actId="122"/>
          <ac:spMkLst>
            <pc:docMk/>
            <pc:sldMk cId="1654109084" sldId="312"/>
            <ac:spMk id="5" creationId="{00000000-0000-0000-0000-000000000000}"/>
          </ac:spMkLst>
        </pc:spChg>
        <pc:graphicFrameChg chg="add mod">
          <ac:chgData name="Felipe De Assis" userId="fedc4fe9-b909-48c3-b8ca-78d40727f114" providerId="ADAL" clId="{E882D7E5-A930-418E-BCAD-40B1D653679C}" dt="2020-06-22T16:48:07.556" v="262"/>
          <ac:graphicFrameMkLst>
            <pc:docMk/>
            <pc:sldMk cId="1654109084" sldId="312"/>
            <ac:graphicFrameMk id="6" creationId="{797C0785-FE79-4275-9F68-8AA1909AFB95}"/>
          </ac:graphicFrameMkLst>
        </pc:graphicFrameChg>
        <pc:graphicFrameChg chg="mod">
          <ac:chgData name="Felipe De Assis" userId="fedc4fe9-b909-48c3-b8ca-78d40727f114" providerId="ADAL" clId="{E882D7E5-A930-418E-BCAD-40B1D653679C}" dt="2020-06-22T16:35:08.706" v="212" actId="20577"/>
          <ac:graphicFrameMkLst>
            <pc:docMk/>
            <pc:sldMk cId="1654109084" sldId="312"/>
            <ac:graphicFrameMk id="8" creationId="{C37DB6B5-7A25-474F-BB2B-6DD8E08333BB}"/>
          </ac:graphicFrameMkLst>
        </pc:graphicFrameChg>
      </pc:sldChg>
      <pc:sldChg chg="modSp mod">
        <pc:chgData name="Felipe De Assis" userId="fedc4fe9-b909-48c3-b8ca-78d40727f114" providerId="ADAL" clId="{E882D7E5-A930-418E-BCAD-40B1D653679C}" dt="2020-06-22T20:41:39.260" v="545"/>
        <pc:sldMkLst>
          <pc:docMk/>
          <pc:sldMk cId="4184016912" sldId="313"/>
        </pc:sldMkLst>
        <pc:graphicFrameChg chg="mod">
          <ac:chgData name="Felipe De Assis" userId="fedc4fe9-b909-48c3-b8ca-78d40727f114" providerId="ADAL" clId="{E882D7E5-A930-418E-BCAD-40B1D653679C}" dt="2020-06-22T20:41:39.260" v="545"/>
          <ac:graphicFrameMkLst>
            <pc:docMk/>
            <pc:sldMk cId="4184016912" sldId="313"/>
            <ac:graphicFrameMk id="2" creationId="{5A8C117F-2222-4C9B-AB4B-5CCFC63D4BC9}"/>
          </ac:graphicFrameMkLst>
        </pc:graphicFrameChg>
      </pc:sldChg>
      <pc:sldChg chg="modSp mod modNotesTx">
        <pc:chgData name="Felipe De Assis" userId="fedc4fe9-b909-48c3-b8ca-78d40727f114" providerId="ADAL" clId="{E882D7E5-A930-418E-BCAD-40B1D653679C}" dt="2020-06-22T19:54:07.316" v="499" actId="20577"/>
        <pc:sldMkLst>
          <pc:docMk/>
          <pc:sldMk cId="2503025995" sldId="314"/>
        </pc:sldMkLst>
        <pc:spChg chg="mod">
          <ac:chgData name="Felipe De Assis" userId="fedc4fe9-b909-48c3-b8ca-78d40727f114" providerId="ADAL" clId="{E882D7E5-A930-418E-BCAD-40B1D653679C}" dt="2020-06-22T18:42:11.250" v="326" actId="1076"/>
          <ac:spMkLst>
            <pc:docMk/>
            <pc:sldMk cId="2503025995" sldId="314"/>
            <ac:spMk id="4" creationId="{00000000-0000-0000-0000-000000000000}"/>
          </ac:spMkLst>
        </pc:spChg>
        <pc:graphicFrameChg chg="mod">
          <ac:chgData name="Felipe De Assis" userId="fedc4fe9-b909-48c3-b8ca-78d40727f114" providerId="ADAL" clId="{E882D7E5-A930-418E-BCAD-40B1D653679C}" dt="2020-06-22T18:42:02.171" v="325" actId="14100"/>
          <ac:graphicFrameMkLst>
            <pc:docMk/>
            <pc:sldMk cId="2503025995" sldId="314"/>
            <ac:graphicFrameMk id="5" creationId="{A2E8B829-1509-4172-8581-894F719B1C00}"/>
          </ac:graphicFrameMkLst>
        </pc:graphicFrameChg>
      </pc:sldChg>
      <pc:sldChg chg="modNotesTx">
        <pc:chgData name="Felipe De Assis" userId="fedc4fe9-b909-48c3-b8ca-78d40727f114" providerId="ADAL" clId="{E882D7E5-A930-418E-BCAD-40B1D653679C}" dt="2020-06-22T19:49:46.317" v="461" actId="20577"/>
        <pc:sldMkLst>
          <pc:docMk/>
          <pc:sldMk cId="1520348436" sldId="315"/>
        </pc:sldMkLst>
      </pc:sldChg>
      <pc:sldChg chg="modNotesTx">
        <pc:chgData name="Felipe De Assis" userId="fedc4fe9-b909-48c3-b8ca-78d40727f114" providerId="ADAL" clId="{E882D7E5-A930-418E-BCAD-40B1D653679C}" dt="2020-06-22T19:18:27.010" v="403"/>
        <pc:sldMkLst>
          <pc:docMk/>
          <pc:sldMk cId="4083746080" sldId="318"/>
        </pc:sldMkLst>
      </pc:sldChg>
      <pc:sldChg chg="modCm">
        <pc:chgData name="Felipe De Assis" userId="fedc4fe9-b909-48c3-b8ca-78d40727f114" providerId="ADAL" clId="{E882D7E5-A930-418E-BCAD-40B1D653679C}" dt="2020-07-09T04:25:45.283" v="548"/>
        <pc:sldMkLst>
          <pc:docMk/>
          <pc:sldMk cId="336616292" sldId="322"/>
        </pc:sldMkLst>
      </pc:sldChg>
      <pc:sldChg chg="delSp modSp add del mod">
        <pc:chgData name="Felipe De Assis" userId="fedc4fe9-b909-48c3-b8ca-78d40727f114" providerId="ADAL" clId="{E882D7E5-A930-418E-BCAD-40B1D653679C}" dt="2020-06-22T15:01:37.538" v="177" actId="47"/>
        <pc:sldMkLst>
          <pc:docMk/>
          <pc:sldMk cId="1364671982" sldId="324"/>
        </pc:sldMkLst>
        <pc:spChg chg="mod">
          <ac:chgData name="Felipe De Assis" userId="fedc4fe9-b909-48c3-b8ca-78d40727f114" providerId="ADAL" clId="{E882D7E5-A930-418E-BCAD-40B1D653679C}" dt="2020-06-22T15:01:01.898" v="163"/>
          <ac:spMkLst>
            <pc:docMk/>
            <pc:sldMk cId="1364671982" sldId="324"/>
            <ac:spMk id="2" creationId="{00000000-0000-0000-0000-000000000000}"/>
          </ac:spMkLst>
        </pc:spChg>
        <pc:spChg chg="del">
          <ac:chgData name="Felipe De Assis" userId="fedc4fe9-b909-48c3-b8ca-78d40727f114" providerId="ADAL" clId="{E882D7E5-A930-418E-BCAD-40B1D653679C}" dt="2020-06-22T14:55:43.908" v="46" actId="478"/>
          <ac:spMkLst>
            <pc:docMk/>
            <pc:sldMk cId="1364671982" sldId="324"/>
            <ac:spMk id="4" creationId="{2BD34214-2A6D-4BF3-9994-0C93F23375BC}"/>
          </ac:spMkLst>
        </pc:spChg>
        <pc:spChg chg="del">
          <ac:chgData name="Felipe De Assis" userId="fedc4fe9-b909-48c3-b8ca-78d40727f114" providerId="ADAL" clId="{E882D7E5-A930-418E-BCAD-40B1D653679C}" dt="2020-06-22T14:55:42.488" v="45" actId="478"/>
          <ac:spMkLst>
            <pc:docMk/>
            <pc:sldMk cId="1364671982" sldId="324"/>
            <ac:spMk id="5" creationId="{00000000-0000-0000-0000-000000000000}"/>
          </ac:spMkLst>
        </pc:spChg>
        <pc:graphicFrameChg chg="mod">
          <ac:chgData name="Felipe De Assis" userId="fedc4fe9-b909-48c3-b8ca-78d40727f114" providerId="ADAL" clId="{E882D7E5-A930-418E-BCAD-40B1D653679C}" dt="2020-06-22T15:01:31.990" v="176" actId="1076"/>
          <ac:graphicFrameMkLst>
            <pc:docMk/>
            <pc:sldMk cId="1364671982" sldId="324"/>
            <ac:graphicFrameMk id="7" creationId="{8D54C87F-1E80-4F48-9F84-779CEA6E6553}"/>
          </ac:graphicFrameMkLst>
        </pc:graphicFrameChg>
      </pc:sldChg>
      <pc:sldChg chg="modSp add mod">
        <pc:chgData name="Felipe De Assis" userId="fedc4fe9-b909-48c3-b8ca-78d40727f114" providerId="ADAL" clId="{E882D7E5-A930-418E-BCAD-40B1D653679C}" dt="2020-06-22T20:07:57.883" v="523" actId="20577"/>
        <pc:sldMkLst>
          <pc:docMk/>
          <pc:sldMk cId="2979019530" sldId="325"/>
        </pc:sldMkLst>
        <pc:spChg chg="mod">
          <ac:chgData name="Felipe De Assis" userId="fedc4fe9-b909-48c3-b8ca-78d40727f114" providerId="ADAL" clId="{E882D7E5-A930-418E-BCAD-40B1D653679C}" dt="2020-06-22T20:07:57.883" v="523" actId="20577"/>
          <ac:spMkLst>
            <pc:docMk/>
            <pc:sldMk cId="2979019530" sldId="325"/>
            <ac:spMk id="2" creationId="{00000000-0000-0000-0000-000000000000}"/>
          </ac:spMkLst>
        </pc:spChg>
      </pc:sldChg>
      <pc:sldChg chg="add">
        <pc:chgData name="Felipe De Assis" userId="fedc4fe9-b909-48c3-b8ca-78d40727f114" providerId="ADAL" clId="{E882D7E5-A930-418E-BCAD-40B1D653679C}" dt="2020-06-22T19:09:12.049" v="385" actId="22"/>
        <pc:sldMkLst>
          <pc:docMk/>
          <pc:sldMk cId="555180019" sldId="326"/>
        </pc:sldMkLst>
      </pc:sldChg>
      <pc:sldChg chg="modSp add">
        <pc:chgData name="Felipe De Assis" userId="fedc4fe9-b909-48c3-b8ca-78d40727f114" providerId="ADAL" clId="{E882D7E5-A930-418E-BCAD-40B1D653679C}" dt="2020-06-22T20:09:53.655" v="525" actId="403"/>
        <pc:sldMkLst>
          <pc:docMk/>
          <pc:sldMk cId="3816453234" sldId="327"/>
        </pc:sldMkLst>
        <pc:graphicFrameChg chg="mod">
          <ac:chgData name="Felipe De Assis" userId="fedc4fe9-b909-48c3-b8ca-78d40727f114" providerId="ADAL" clId="{E882D7E5-A930-418E-BCAD-40B1D653679C}" dt="2020-06-22T20:09:53.655" v="525" actId="403"/>
          <ac:graphicFrameMkLst>
            <pc:docMk/>
            <pc:sldMk cId="3816453234" sldId="327"/>
            <ac:graphicFrameMk id="4" creationId="{654E446B-C5C3-452A-A2CD-6AD33F2D83E4}"/>
          </ac:graphicFrameMkLst>
        </pc:graphicFrameChg>
      </pc:sldChg>
    </pc:docChg>
  </pc:docChgLst>
  <pc:docChgLst>
    <pc:chgData name="Nick Salch" userId="47ab95ae-ac26-4648-966b-37822820099a" providerId="ADAL" clId="{56F04733-559E-41AD-8A8D-3FDD2FAE955E}"/>
    <pc:docChg chg="custSel modSld">
      <pc:chgData name="Nick Salch" userId="47ab95ae-ac26-4648-966b-37822820099a" providerId="ADAL" clId="{56F04733-559E-41AD-8A8D-3FDD2FAE955E}" dt="2020-08-24T20:41:58.114" v="1160"/>
      <pc:docMkLst>
        <pc:docMk/>
      </pc:docMkLst>
      <pc:sldChg chg="modNotesTx">
        <pc:chgData name="Nick Salch" userId="47ab95ae-ac26-4648-966b-37822820099a" providerId="ADAL" clId="{56F04733-559E-41AD-8A8D-3FDD2FAE955E}" dt="2020-08-24T18:14:03.221" v="276" actId="20577"/>
        <pc:sldMkLst>
          <pc:docMk/>
          <pc:sldMk cId="1231228165" sldId="277"/>
        </pc:sldMkLst>
      </pc:sldChg>
      <pc:sldChg chg="modSp modNotesTx">
        <pc:chgData name="Nick Salch" userId="47ab95ae-ac26-4648-966b-37822820099a" providerId="ADAL" clId="{56F04733-559E-41AD-8A8D-3FDD2FAE955E}" dt="2020-08-24T20:26:28.221" v="1159" actId="20577"/>
        <pc:sldMkLst>
          <pc:docMk/>
          <pc:sldMk cId="3076810162" sldId="285"/>
        </pc:sldMkLst>
        <pc:graphicFrameChg chg="mod">
          <ac:chgData name="Nick Salch" userId="47ab95ae-ac26-4648-966b-37822820099a" providerId="ADAL" clId="{56F04733-559E-41AD-8A8D-3FDD2FAE955E}" dt="2020-08-24T20:26:28.221" v="1159" actId="20577"/>
          <ac:graphicFrameMkLst>
            <pc:docMk/>
            <pc:sldMk cId="3076810162" sldId="285"/>
            <ac:graphicFrameMk id="3" creationId="{C1C185F5-318A-4783-BB64-0B012022B5A6}"/>
          </ac:graphicFrameMkLst>
        </pc:graphicFrameChg>
      </pc:sldChg>
      <pc:sldChg chg="modNotesTx">
        <pc:chgData name="Nick Salch" userId="47ab95ae-ac26-4648-966b-37822820099a" providerId="ADAL" clId="{56F04733-559E-41AD-8A8D-3FDD2FAE955E}" dt="2020-08-24T19:53:46.826" v="1145" actId="20577"/>
        <pc:sldMkLst>
          <pc:docMk/>
          <pc:sldMk cId="877002824" sldId="286"/>
        </pc:sldMkLst>
      </pc:sldChg>
      <pc:sldChg chg="modCm">
        <pc:chgData name="Nick Salch" userId="47ab95ae-ac26-4648-966b-37822820099a" providerId="ADAL" clId="{56F04733-559E-41AD-8A8D-3FDD2FAE955E}" dt="2020-08-24T20:41:58.114" v="1160"/>
        <pc:sldMkLst>
          <pc:docMk/>
          <pc:sldMk cId="1520348436" sldId="315"/>
        </pc:sldMkLst>
      </pc:sldChg>
      <pc:sldChg chg="modNotesTx">
        <pc:chgData name="Nick Salch" userId="47ab95ae-ac26-4648-966b-37822820099a" providerId="ADAL" clId="{56F04733-559E-41AD-8A8D-3FDD2FAE955E}" dt="2020-08-24T18:16:54.089" v="519" actId="20577"/>
        <pc:sldMkLst>
          <pc:docMk/>
          <pc:sldMk cId="555180019" sldId="326"/>
        </pc:sldMkLst>
      </pc:sldChg>
    </pc:docChg>
  </pc:docChgLst>
  <pc:docChgLst>
    <pc:chgData name="Filipe Moreira" userId="S::fimorei@microsoft.com::fa9bf1d2-47eb-439d-b2f4-ca03a48a6bbf" providerId="AD" clId="Web-{30A9C01C-BE54-5BCF-4D92-7CBCD0083430}"/>
    <pc:docChg chg="">
      <pc:chgData name="Filipe Moreira" userId="S::fimorei@microsoft.com::fa9bf1d2-47eb-439d-b2f4-ca03a48a6bbf" providerId="AD" clId="Web-{30A9C01C-BE54-5BCF-4D92-7CBCD0083430}" dt="2020-06-24T09:11:32.640" v="0"/>
      <pc:docMkLst>
        <pc:docMk/>
      </pc:docMkLst>
      <pc:sldChg chg="modCm">
        <pc:chgData name="Filipe Moreira" userId="S::fimorei@microsoft.com::fa9bf1d2-47eb-439d-b2f4-ca03a48a6bbf" providerId="AD" clId="Web-{30A9C01C-BE54-5BCF-4D92-7CBCD0083430}" dt="2020-06-24T09:11:32.640" v="0"/>
        <pc:sldMkLst>
          <pc:docMk/>
          <pc:sldMk cId="336616292" sldId="322"/>
        </pc:sldMkLst>
      </pc:sldChg>
    </pc:docChg>
  </pc:docChgLst>
  <pc:docChgLst>
    <pc:chgData name="Filipe Moreira" userId="fa9bf1d2-47eb-439d-b2f4-ca03a48a6bbf" providerId="ADAL" clId="{82951AE0-A3A9-4307-9A25-0D6645362F53}"/>
    <pc:docChg chg="custSel delSld modSld modSection">
      <pc:chgData name="Filipe Moreira" userId="fa9bf1d2-47eb-439d-b2f4-ca03a48a6bbf" providerId="ADAL" clId="{82951AE0-A3A9-4307-9A25-0D6645362F53}" dt="2020-06-18T14:09:09.360" v="170" actId="108"/>
      <pc:docMkLst>
        <pc:docMk/>
      </pc:docMkLst>
      <pc:sldChg chg="modSp">
        <pc:chgData name="Filipe Moreira" userId="fa9bf1d2-47eb-439d-b2f4-ca03a48a6bbf" providerId="ADAL" clId="{82951AE0-A3A9-4307-9A25-0D6645362F53}" dt="2020-06-18T14:00:09.472" v="19" actId="20577"/>
        <pc:sldMkLst>
          <pc:docMk/>
          <pc:sldMk cId="3686692616" sldId="280"/>
        </pc:sldMkLst>
        <pc:graphicFrameChg chg="mod">
          <ac:chgData name="Filipe Moreira" userId="fa9bf1d2-47eb-439d-b2f4-ca03a48a6bbf" providerId="ADAL" clId="{82951AE0-A3A9-4307-9A25-0D6645362F53}" dt="2020-06-18T14:00:09.472" v="19" actId="20577"/>
          <ac:graphicFrameMkLst>
            <pc:docMk/>
            <pc:sldMk cId="3686692616" sldId="280"/>
            <ac:graphicFrameMk id="2" creationId="{CB2717BB-96FF-4D14-B18F-665529B2F382}"/>
          </ac:graphicFrameMkLst>
        </pc:graphicFrameChg>
      </pc:sldChg>
      <pc:sldChg chg="modSp mod">
        <pc:chgData name="Filipe Moreira" userId="fa9bf1d2-47eb-439d-b2f4-ca03a48a6bbf" providerId="ADAL" clId="{82951AE0-A3A9-4307-9A25-0D6645362F53}" dt="2020-06-18T14:01:49.820" v="29" actId="20577"/>
        <pc:sldMkLst>
          <pc:docMk/>
          <pc:sldMk cId="2189783365" sldId="282"/>
        </pc:sldMkLst>
        <pc:spChg chg="mod">
          <ac:chgData name="Filipe Moreira" userId="fa9bf1d2-47eb-439d-b2f4-ca03a48a6bbf" providerId="ADAL" clId="{82951AE0-A3A9-4307-9A25-0D6645362F53}" dt="2020-06-18T14:01:49.820" v="29" actId="20577"/>
          <ac:spMkLst>
            <pc:docMk/>
            <pc:sldMk cId="2189783365" sldId="282"/>
            <ac:spMk id="2" creationId="{00000000-0000-0000-0000-000000000000}"/>
          </ac:spMkLst>
        </pc:spChg>
        <pc:graphicFrameChg chg="mod">
          <ac:chgData name="Filipe Moreira" userId="fa9bf1d2-47eb-439d-b2f4-ca03a48a6bbf" providerId="ADAL" clId="{82951AE0-A3A9-4307-9A25-0D6645362F53}" dt="2020-06-18T14:01:20.754" v="24" actId="20577"/>
          <ac:graphicFrameMkLst>
            <pc:docMk/>
            <pc:sldMk cId="2189783365" sldId="282"/>
            <ac:graphicFrameMk id="4" creationId="{7527D1DA-1E34-4C9E-874B-D0B6DCE9B163}"/>
          </ac:graphicFrameMkLst>
        </pc:graphicFrameChg>
      </pc:sldChg>
      <pc:sldChg chg="modSp mod">
        <pc:chgData name="Filipe Moreira" userId="fa9bf1d2-47eb-439d-b2f4-ca03a48a6bbf" providerId="ADAL" clId="{82951AE0-A3A9-4307-9A25-0D6645362F53}" dt="2020-06-18T14:01:59.709" v="32" actId="20577"/>
        <pc:sldMkLst>
          <pc:docMk/>
          <pc:sldMk cId="617746162" sldId="283"/>
        </pc:sldMkLst>
        <pc:spChg chg="mod">
          <ac:chgData name="Filipe Moreira" userId="fa9bf1d2-47eb-439d-b2f4-ca03a48a6bbf" providerId="ADAL" clId="{82951AE0-A3A9-4307-9A25-0D6645362F53}" dt="2020-06-18T14:01:59.709" v="32" actId="20577"/>
          <ac:spMkLst>
            <pc:docMk/>
            <pc:sldMk cId="617746162" sldId="283"/>
            <ac:spMk id="2" creationId="{00000000-0000-0000-0000-000000000000}"/>
          </ac:spMkLst>
        </pc:spChg>
      </pc:sldChg>
      <pc:sldChg chg="modSp mod">
        <pc:chgData name="Filipe Moreira" userId="fa9bf1d2-47eb-439d-b2f4-ca03a48a6bbf" providerId="ADAL" clId="{82951AE0-A3A9-4307-9A25-0D6645362F53}" dt="2020-06-18T14:02:13.233" v="33" actId="20577"/>
        <pc:sldMkLst>
          <pc:docMk/>
          <pc:sldMk cId="391200088" sldId="284"/>
        </pc:sldMkLst>
        <pc:spChg chg="mod">
          <ac:chgData name="Filipe Moreira" userId="fa9bf1d2-47eb-439d-b2f4-ca03a48a6bbf" providerId="ADAL" clId="{82951AE0-A3A9-4307-9A25-0D6645362F53}" dt="2020-06-18T14:02:13.233" v="33" actId="20577"/>
          <ac:spMkLst>
            <pc:docMk/>
            <pc:sldMk cId="391200088" sldId="284"/>
            <ac:spMk id="2" creationId="{00000000-0000-0000-0000-000000000000}"/>
          </ac:spMkLst>
        </pc:spChg>
      </pc:sldChg>
      <pc:sldChg chg="modSp mod">
        <pc:chgData name="Filipe Moreira" userId="fa9bf1d2-47eb-439d-b2f4-ca03a48a6bbf" providerId="ADAL" clId="{82951AE0-A3A9-4307-9A25-0D6645362F53}" dt="2020-06-18T14:02:34.868" v="35" actId="20577"/>
        <pc:sldMkLst>
          <pc:docMk/>
          <pc:sldMk cId="3076810162" sldId="285"/>
        </pc:sldMkLst>
        <pc:spChg chg="mod">
          <ac:chgData name="Filipe Moreira" userId="fa9bf1d2-47eb-439d-b2f4-ca03a48a6bbf" providerId="ADAL" clId="{82951AE0-A3A9-4307-9A25-0D6645362F53}" dt="2020-06-18T14:02:34.868" v="35" actId="20577"/>
          <ac:spMkLst>
            <pc:docMk/>
            <pc:sldMk cId="3076810162" sldId="285"/>
            <ac:spMk id="2" creationId="{00000000-0000-0000-0000-000000000000}"/>
          </ac:spMkLst>
        </pc:spChg>
      </pc:sldChg>
      <pc:sldChg chg="modSp mod">
        <pc:chgData name="Filipe Moreira" userId="fa9bf1d2-47eb-439d-b2f4-ca03a48a6bbf" providerId="ADAL" clId="{82951AE0-A3A9-4307-9A25-0D6645362F53}" dt="2020-06-18T14:02:40.056" v="36" actId="20577"/>
        <pc:sldMkLst>
          <pc:docMk/>
          <pc:sldMk cId="877002824" sldId="286"/>
        </pc:sldMkLst>
        <pc:spChg chg="mod">
          <ac:chgData name="Filipe Moreira" userId="fa9bf1d2-47eb-439d-b2f4-ca03a48a6bbf" providerId="ADAL" clId="{82951AE0-A3A9-4307-9A25-0D6645362F53}" dt="2020-06-18T14:02:40.056" v="36" actId="20577"/>
          <ac:spMkLst>
            <pc:docMk/>
            <pc:sldMk cId="877002824" sldId="286"/>
            <ac:spMk id="2" creationId="{00000000-0000-0000-0000-000000000000}"/>
          </ac:spMkLst>
        </pc:spChg>
      </pc:sldChg>
      <pc:sldChg chg="modSp mod">
        <pc:chgData name="Filipe Moreira" userId="fa9bf1d2-47eb-439d-b2f4-ca03a48a6bbf" providerId="ADAL" clId="{82951AE0-A3A9-4307-9A25-0D6645362F53}" dt="2020-06-18T14:05:17.468" v="168" actId="166"/>
        <pc:sldMkLst>
          <pc:docMk/>
          <pc:sldMk cId="555180019" sldId="288"/>
        </pc:sldMkLst>
        <pc:spChg chg="ord">
          <ac:chgData name="Filipe Moreira" userId="fa9bf1d2-47eb-439d-b2f4-ca03a48a6bbf" providerId="ADAL" clId="{82951AE0-A3A9-4307-9A25-0D6645362F53}" dt="2020-06-18T14:05:17.468" v="168" actId="166"/>
          <ac:spMkLst>
            <pc:docMk/>
            <pc:sldMk cId="555180019" sldId="288"/>
            <ac:spMk id="1644" creationId="{00000000-0000-0000-0000-000000000000}"/>
          </ac:spMkLst>
        </pc:spChg>
      </pc:sldChg>
      <pc:sldChg chg="modNotesTx">
        <pc:chgData name="Filipe Moreira" userId="fa9bf1d2-47eb-439d-b2f4-ca03a48a6bbf" providerId="ADAL" clId="{82951AE0-A3A9-4307-9A25-0D6645362F53}" dt="2020-06-18T14:03:56.454" v="167" actId="20577"/>
        <pc:sldMkLst>
          <pc:docMk/>
          <pc:sldMk cId="3343308098" sldId="297"/>
        </pc:sldMkLst>
      </pc:sldChg>
      <pc:sldChg chg="modSp mod">
        <pc:chgData name="Filipe Moreira" userId="fa9bf1d2-47eb-439d-b2f4-ca03a48a6bbf" providerId="ADAL" clId="{82951AE0-A3A9-4307-9A25-0D6645362F53}" dt="2020-06-18T14:09:09.360" v="170" actId="108"/>
        <pc:sldMkLst>
          <pc:docMk/>
          <pc:sldMk cId="357505054" sldId="303"/>
        </pc:sldMkLst>
        <pc:spChg chg="mod">
          <ac:chgData name="Filipe Moreira" userId="fa9bf1d2-47eb-439d-b2f4-ca03a48a6bbf" providerId="ADAL" clId="{82951AE0-A3A9-4307-9A25-0D6645362F53}" dt="2020-06-18T14:09:09.360" v="170" actId="108"/>
          <ac:spMkLst>
            <pc:docMk/>
            <pc:sldMk cId="357505054" sldId="303"/>
            <ac:spMk id="2" creationId="{00000000-0000-0000-0000-000000000000}"/>
          </ac:spMkLst>
        </pc:spChg>
      </pc:sldChg>
      <pc:sldChg chg="modSp mod">
        <pc:chgData name="Filipe Moreira" userId="fa9bf1d2-47eb-439d-b2f4-ca03a48a6bbf" providerId="ADAL" clId="{82951AE0-A3A9-4307-9A25-0D6645362F53}" dt="2020-06-18T14:08:44.416" v="169" actId="108"/>
        <pc:sldMkLst>
          <pc:docMk/>
          <pc:sldMk cId="4184016912" sldId="313"/>
        </pc:sldMkLst>
        <pc:spChg chg="mod">
          <ac:chgData name="Filipe Moreira" userId="fa9bf1d2-47eb-439d-b2f4-ca03a48a6bbf" providerId="ADAL" clId="{82951AE0-A3A9-4307-9A25-0D6645362F53}" dt="2020-06-18T14:08:44.416" v="169" actId="108"/>
          <ac:spMkLst>
            <pc:docMk/>
            <pc:sldMk cId="4184016912" sldId="313"/>
            <ac:spMk id="7" creationId="{00000000-0000-0000-0000-000000000000}"/>
          </ac:spMkLst>
        </pc:spChg>
      </pc:sldChg>
      <pc:sldChg chg="modSp mod">
        <pc:chgData name="Filipe Moreira" userId="fa9bf1d2-47eb-439d-b2f4-ca03a48a6bbf" providerId="ADAL" clId="{82951AE0-A3A9-4307-9A25-0D6645362F53}" dt="2020-06-18T13:59:00.948" v="8" actId="20577"/>
        <pc:sldMkLst>
          <pc:docMk/>
          <pc:sldMk cId="1615560134" sldId="317"/>
        </pc:sldMkLst>
        <pc:spChg chg="mod">
          <ac:chgData name="Filipe Moreira" userId="fa9bf1d2-47eb-439d-b2f4-ca03a48a6bbf" providerId="ADAL" clId="{82951AE0-A3A9-4307-9A25-0D6645362F53}" dt="2020-06-18T13:59:00.948" v="8" actId="20577"/>
          <ac:spMkLst>
            <pc:docMk/>
            <pc:sldMk cId="1615560134" sldId="317"/>
            <ac:spMk id="2" creationId="{A4F7978F-9845-41F7-B950-A076D70F7A52}"/>
          </ac:spMkLst>
        </pc:spChg>
      </pc:sldChg>
      <pc:sldChg chg="del">
        <pc:chgData name="Filipe Moreira" userId="fa9bf1d2-47eb-439d-b2f4-ca03a48a6bbf" providerId="ADAL" clId="{82951AE0-A3A9-4307-9A25-0D6645362F53}" dt="2020-06-16T15:59:00.608" v="0" actId="47"/>
        <pc:sldMkLst>
          <pc:docMk/>
          <pc:sldMk cId="1425078226" sldId="324"/>
        </pc:sldMkLst>
      </pc:sldChg>
    </pc:docChg>
  </pc:docChgLst>
  <pc:docChgLst>
    <pc:chgData name="Filipe Moreira" userId="fa9bf1d2-47eb-439d-b2f4-ca03a48a6bbf" providerId="ADAL" clId="{00FA8EE1-9134-4261-9C3B-EE800857B6B7}"/>
    <pc:docChg chg="undo custSel addSld delSld modSld sldOrd modMainMaster addSection delSection modSection">
      <pc:chgData name="Filipe Moreira" userId="fa9bf1d2-47eb-439d-b2f4-ca03a48a6bbf" providerId="ADAL" clId="{00FA8EE1-9134-4261-9C3B-EE800857B6B7}" dt="2020-06-16T15:48:51.718" v="1147" actId="14100"/>
      <pc:docMkLst>
        <pc:docMk/>
      </pc:docMkLst>
      <pc:sldChg chg="modSp del mod">
        <pc:chgData name="Filipe Moreira" userId="fa9bf1d2-47eb-439d-b2f4-ca03a48a6bbf" providerId="ADAL" clId="{00FA8EE1-9134-4261-9C3B-EE800857B6B7}" dt="2020-06-16T14:56:22.301" v="846" actId="2696"/>
        <pc:sldMkLst>
          <pc:docMk/>
          <pc:sldMk cId="1325058836" sldId="256"/>
        </pc:sldMkLst>
        <pc:spChg chg="mod">
          <ac:chgData name="Filipe Moreira" userId="fa9bf1d2-47eb-439d-b2f4-ca03a48a6bbf" providerId="ADAL" clId="{00FA8EE1-9134-4261-9C3B-EE800857B6B7}" dt="2020-06-16T11:48:17.422" v="165" actId="20577"/>
          <ac:spMkLst>
            <pc:docMk/>
            <pc:sldMk cId="1325058836" sldId="256"/>
            <ac:spMk id="3" creationId="{375A0713-ED2D-4067-B001-BD9C957C5624}"/>
          </ac:spMkLst>
        </pc:spChg>
        <pc:spChg chg="mod">
          <ac:chgData name="Filipe Moreira" userId="fa9bf1d2-47eb-439d-b2f4-ca03a48a6bbf" providerId="ADAL" clId="{00FA8EE1-9134-4261-9C3B-EE800857B6B7}" dt="2020-06-16T11:48:20.231" v="166" actId="6549"/>
          <ac:spMkLst>
            <pc:docMk/>
            <pc:sldMk cId="1325058836" sldId="256"/>
            <ac:spMk id="6" creationId="{00000000-0000-0000-0000-000000000000}"/>
          </ac:spMkLst>
        </pc:spChg>
      </pc:sldChg>
      <pc:sldChg chg="modSp mod">
        <pc:chgData name="Filipe Moreira" userId="fa9bf1d2-47eb-439d-b2f4-ca03a48a6bbf" providerId="ADAL" clId="{00FA8EE1-9134-4261-9C3B-EE800857B6B7}" dt="2020-06-16T15:00:35.597" v="931" actId="1076"/>
        <pc:sldMkLst>
          <pc:docMk/>
          <pc:sldMk cId="3816569674" sldId="256"/>
        </pc:sldMkLst>
        <pc:spChg chg="mod">
          <ac:chgData name="Filipe Moreira" userId="fa9bf1d2-47eb-439d-b2f4-ca03a48a6bbf" providerId="ADAL" clId="{00FA8EE1-9134-4261-9C3B-EE800857B6B7}" dt="2020-06-16T15:00:35.597" v="931" actId="1076"/>
          <ac:spMkLst>
            <pc:docMk/>
            <pc:sldMk cId="3816569674" sldId="256"/>
            <ac:spMk id="6" creationId="{00000000-0000-0000-0000-000000000000}"/>
          </ac:spMkLst>
        </pc:spChg>
        <pc:spChg chg="mod">
          <ac:chgData name="Filipe Moreira" userId="fa9bf1d2-47eb-439d-b2f4-ca03a48a6bbf" providerId="ADAL" clId="{00FA8EE1-9134-4261-9C3B-EE800857B6B7}" dt="2020-06-16T14:59:49.140" v="929" actId="1076"/>
          <ac:spMkLst>
            <pc:docMk/>
            <pc:sldMk cId="3816569674" sldId="256"/>
            <ac:spMk id="7" creationId="{D3EAAD9A-76BF-48B0-A6BF-A24D0A8C5A8F}"/>
          </ac:spMkLst>
        </pc:spChg>
        <pc:graphicFrameChg chg="mod modGraphic">
          <ac:chgData name="Filipe Moreira" userId="fa9bf1d2-47eb-439d-b2f4-ca03a48a6bbf" providerId="ADAL" clId="{00FA8EE1-9134-4261-9C3B-EE800857B6B7}" dt="2020-06-16T14:59:46.107" v="928" actId="1076"/>
          <ac:graphicFrameMkLst>
            <pc:docMk/>
            <pc:sldMk cId="3816569674" sldId="256"/>
            <ac:graphicFrameMk id="132" creationId="{602854A3-B709-4893-A7A7-ECA5177FAE28}"/>
          </ac:graphicFrameMkLst>
        </pc:graphicFrameChg>
      </pc:sldChg>
      <pc:sldChg chg="add del">
        <pc:chgData name="Filipe Moreira" userId="fa9bf1d2-47eb-439d-b2f4-ca03a48a6bbf" providerId="ADAL" clId="{00FA8EE1-9134-4261-9C3B-EE800857B6B7}" dt="2020-06-16T14:53:22.058" v="801"/>
        <pc:sldMkLst>
          <pc:docMk/>
          <pc:sldMk cId="733011563" sldId="257"/>
        </pc:sldMkLst>
      </pc:sldChg>
      <pc:sldChg chg="modSp del modTransition">
        <pc:chgData name="Filipe Moreira" userId="fa9bf1d2-47eb-439d-b2f4-ca03a48a6bbf" providerId="ADAL" clId="{00FA8EE1-9134-4261-9C3B-EE800857B6B7}" dt="2020-06-16T14:53:27.268" v="803" actId="47"/>
        <pc:sldMkLst>
          <pc:docMk/>
          <pc:sldMk cId="3581938780" sldId="260"/>
        </pc:sldMkLst>
        <pc:spChg chg="mod">
          <ac:chgData name="Filipe Moreira" userId="fa9bf1d2-47eb-439d-b2f4-ca03a48a6bbf" providerId="ADAL" clId="{00FA8EE1-9134-4261-9C3B-EE800857B6B7}" dt="2020-06-16T12:07:29.667" v="255"/>
          <ac:spMkLst>
            <pc:docMk/>
            <pc:sldMk cId="3581938780" sldId="260"/>
            <ac:spMk id="2" creationId="{00000000-0000-0000-0000-000000000000}"/>
          </ac:spMkLst>
        </pc:spChg>
      </pc:sldChg>
      <pc:sldChg chg="del">
        <pc:chgData name="Filipe Moreira" userId="fa9bf1d2-47eb-439d-b2f4-ca03a48a6bbf" providerId="ADAL" clId="{00FA8EE1-9134-4261-9C3B-EE800857B6B7}" dt="2020-06-16T15:30:59.540" v="1076" actId="47"/>
        <pc:sldMkLst>
          <pc:docMk/>
          <pc:sldMk cId="2789188734" sldId="268"/>
        </pc:sldMkLst>
      </pc:sldChg>
      <pc:sldChg chg="add del modTransition">
        <pc:chgData name="Filipe Moreira" userId="fa9bf1d2-47eb-439d-b2f4-ca03a48a6bbf" providerId="ADAL" clId="{00FA8EE1-9134-4261-9C3B-EE800857B6B7}" dt="2020-06-16T15:30:58.287" v="1075" actId="47"/>
        <pc:sldMkLst>
          <pc:docMk/>
          <pc:sldMk cId="2260953147" sldId="274"/>
        </pc:sldMkLst>
      </pc:sldChg>
      <pc:sldChg chg="del">
        <pc:chgData name="Filipe Moreira" userId="fa9bf1d2-47eb-439d-b2f4-ca03a48a6bbf" providerId="ADAL" clId="{00FA8EE1-9134-4261-9C3B-EE800857B6B7}" dt="2020-06-16T14:53:03.625" v="797" actId="47"/>
        <pc:sldMkLst>
          <pc:docMk/>
          <pc:sldMk cId="1076368552" sldId="276"/>
        </pc:sldMkLst>
      </pc:sldChg>
      <pc:sldChg chg="addSp delSp modSp mod modAnim modNotesTx">
        <pc:chgData name="Filipe Moreira" userId="fa9bf1d2-47eb-439d-b2f4-ca03a48a6bbf" providerId="ADAL" clId="{00FA8EE1-9134-4261-9C3B-EE800857B6B7}" dt="2020-06-16T15:00:12.016" v="930" actId="108"/>
        <pc:sldMkLst>
          <pc:docMk/>
          <pc:sldMk cId="1231228165" sldId="277"/>
        </pc:sldMkLst>
        <pc:spChg chg="mod">
          <ac:chgData name="Filipe Moreira" userId="fa9bf1d2-47eb-439d-b2f4-ca03a48a6bbf" providerId="ADAL" clId="{00FA8EE1-9134-4261-9C3B-EE800857B6B7}" dt="2020-06-16T15:00:12.016" v="930" actId="108"/>
          <ac:spMkLst>
            <pc:docMk/>
            <pc:sldMk cId="1231228165" sldId="277"/>
            <ac:spMk id="2" creationId="{00000000-0000-0000-0000-000000000000}"/>
          </ac:spMkLst>
        </pc:spChg>
        <pc:spChg chg="del mod">
          <ac:chgData name="Filipe Moreira" userId="fa9bf1d2-47eb-439d-b2f4-ca03a48a6bbf" providerId="ADAL" clId="{00FA8EE1-9134-4261-9C3B-EE800857B6B7}" dt="2020-06-16T11:49:40.547" v="168" actId="12084"/>
          <ac:spMkLst>
            <pc:docMk/>
            <pc:sldMk cId="1231228165" sldId="277"/>
            <ac:spMk id="3" creationId="{00000000-0000-0000-0000-000000000000}"/>
          </ac:spMkLst>
        </pc:spChg>
        <pc:spChg chg="add mod">
          <ac:chgData name="Filipe Moreira" userId="fa9bf1d2-47eb-439d-b2f4-ca03a48a6bbf" providerId="ADAL" clId="{00FA8EE1-9134-4261-9C3B-EE800857B6B7}" dt="2020-06-16T11:54:03.188" v="182" actId="1076"/>
          <ac:spMkLst>
            <pc:docMk/>
            <pc:sldMk cId="1231228165" sldId="277"/>
            <ac:spMk id="5" creationId="{E924011A-EC88-4D63-9EE0-4BB639510411}"/>
          </ac:spMkLst>
        </pc:spChg>
        <pc:spChg chg="add mod">
          <ac:chgData name="Filipe Moreira" userId="fa9bf1d2-47eb-439d-b2f4-ca03a48a6bbf" providerId="ADAL" clId="{00FA8EE1-9134-4261-9C3B-EE800857B6B7}" dt="2020-06-16T11:54:16.630" v="184" actId="1076"/>
          <ac:spMkLst>
            <pc:docMk/>
            <pc:sldMk cId="1231228165" sldId="277"/>
            <ac:spMk id="6" creationId="{F230A653-C3E8-43F0-92CD-D5FD5F50AED7}"/>
          </ac:spMkLst>
        </pc:spChg>
        <pc:spChg chg="add mod">
          <ac:chgData name="Filipe Moreira" userId="fa9bf1d2-47eb-439d-b2f4-ca03a48a6bbf" providerId="ADAL" clId="{00FA8EE1-9134-4261-9C3B-EE800857B6B7}" dt="2020-06-16T11:55:54.731" v="200" actId="1076"/>
          <ac:spMkLst>
            <pc:docMk/>
            <pc:sldMk cId="1231228165" sldId="277"/>
            <ac:spMk id="7" creationId="{7703E491-D535-4A49-BB51-021F86749E71}"/>
          </ac:spMkLst>
        </pc:spChg>
        <pc:graphicFrameChg chg="add mod">
          <ac:chgData name="Filipe Moreira" userId="fa9bf1d2-47eb-439d-b2f4-ca03a48a6bbf" providerId="ADAL" clId="{00FA8EE1-9134-4261-9C3B-EE800857B6B7}" dt="2020-06-16T12:00:25.920" v="226" actId="20577"/>
          <ac:graphicFrameMkLst>
            <pc:docMk/>
            <pc:sldMk cId="1231228165" sldId="277"/>
            <ac:graphicFrameMk id="4" creationId="{F8951C77-565F-4165-9F65-2C4621D83B72}"/>
          </ac:graphicFrameMkLst>
        </pc:graphicFrameChg>
      </pc:sldChg>
      <pc:sldChg chg="delSp modSp del mod modTransition modNotesTx">
        <pc:chgData name="Filipe Moreira" userId="fa9bf1d2-47eb-439d-b2f4-ca03a48a6bbf" providerId="ADAL" clId="{00FA8EE1-9134-4261-9C3B-EE800857B6B7}" dt="2020-06-16T15:39:19.563" v="1088" actId="2696"/>
        <pc:sldMkLst>
          <pc:docMk/>
          <pc:sldMk cId="1492077316" sldId="278"/>
        </pc:sldMkLst>
        <pc:spChg chg="mod">
          <ac:chgData name="Filipe Moreira" userId="fa9bf1d2-47eb-439d-b2f4-ca03a48a6bbf" providerId="ADAL" clId="{00FA8EE1-9134-4261-9C3B-EE800857B6B7}" dt="2020-06-16T12:07:29.667" v="255"/>
          <ac:spMkLst>
            <pc:docMk/>
            <pc:sldMk cId="1492077316" sldId="278"/>
            <ac:spMk id="2" creationId="{00000000-0000-0000-0000-000000000000}"/>
          </ac:spMkLst>
        </pc:spChg>
        <pc:spChg chg="del">
          <ac:chgData name="Filipe Moreira" userId="fa9bf1d2-47eb-439d-b2f4-ca03a48a6bbf" providerId="ADAL" clId="{00FA8EE1-9134-4261-9C3B-EE800857B6B7}" dt="2020-06-16T11:51:04.733" v="172" actId="478"/>
          <ac:spMkLst>
            <pc:docMk/>
            <pc:sldMk cId="1492077316" sldId="278"/>
            <ac:spMk id="3" creationId="{BCC708B5-373D-46F5-AB44-1F000A1D2DC5}"/>
          </ac:spMkLst>
        </pc:spChg>
      </pc:sldChg>
      <pc:sldChg chg="addSp delSp modSp mod">
        <pc:chgData name="Filipe Moreira" userId="fa9bf1d2-47eb-439d-b2f4-ca03a48a6bbf" providerId="ADAL" clId="{00FA8EE1-9134-4261-9C3B-EE800857B6B7}" dt="2020-06-16T12:24:33.594" v="419" actId="207"/>
        <pc:sldMkLst>
          <pc:docMk/>
          <pc:sldMk cId="4070320751" sldId="279"/>
        </pc:sldMkLst>
        <pc:spChg chg="mod">
          <ac:chgData name="Filipe Moreira" userId="fa9bf1d2-47eb-439d-b2f4-ca03a48a6bbf" providerId="ADAL" clId="{00FA8EE1-9134-4261-9C3B-EE800857B6B7}" dt="2020-06-16T12:24:33.594" v="419" actId="207"/>
          <ac:spMkLst>
            <pc:docMk/>
            <pc:sldMk cId="4070320751" sldId="279"/>
            <ac:spMk id="4" creationId="{00000000-0000-0000-0000-000000000000}"/>
          </ac:spMkLst>
        </pc:spChg>
        <pc:spChg chg="del mod">
          <ac:chgData name="Filipe Moreira" userId="fa9bf1d2-47eb-439d-b2f4-ca03a48a6bbf" providerId="ADAL" clId="{00FA8EE1-9134-4261-9C3B-EE800857B6B7}" dt="2020-06-16T12:02:17.979" v="233" actId="12084"/>
          <ac:spMkLst>
            <pc:docMk/>
            <pc:sldMk cId="4070320751" sldId="279"/>
            <ac:spMk id="5" creationId="{00000000-0000-0000-0000-000000000000}"/>
          </ac:spMkLst>
        </pc:spChg>
        <pc:graphicFrameChg chg="add mod">
          <ac:chgData name="Filipe Moreira" userId="fa9bf1d2-47eb-439d-b2f4-ca03a48a6bbf" providerId="ADAL" clId="{00FA8EE1-9134-4261-9C3B-EE800857B6B7}" dt="2020-06-16T12:03:48.093" v="245" actId="20577"/>
          <ac:graphicFrameMkLst>
            <pc:docMk/>
            <pc:sldMk cId="4070320751" sldId="279"/>
            <ac:graphicFrameMk id="2" creationId="{B2F71C8C-6B1D-4C28-A45B-B792A003AE4E}"/>
          </ac:graphicFrameMkLst>
        </pc:graphicFrameChg>
      </pc:sldChg>
      <pc:sldChg chg="addSp delSp modSp modAnim modNotesTx">
        <pc:chgData name="Filipe Moreira" userId="fa9bf1d2-47eb-439d-b2f4-ca03a48a6bbf" providerId="ADAL" clId="{00FA8EE1-9134-4261-9C3B-EE800857B6B7}" dt="2020-06-16T12:24:46.536" v="420" actId="207"/>
        <pc:sldMkLst>
          <pc:docMk/>
          <pc:sldMk cId="3686692616" sldId="280"/>
        </pc:sldMkLst>
        <pc:spChg chg="mod">
          <ac:chgData name="Filipe Moreira" userId="fa9bf1d2-47eb-439d-b2f4-ca03a48a6bbf" providerId="ADAL" clId="{00FA8EE1-9134-4261-9C3B-EE800857B6B7}" dt="2020-06-16T12:24:46.536" v="420" actId="207"/>
          <ac:spMkLst>
            <pc:docMk/>
            <pc:sldMk cId="3686692616" sldId="280"/>
            <ac:spMk id="4" creationId="{00000000-0000-0000-0000-000000000000}"/>
          </ac:spMkLst>
        </pc:spChg>
        <pc:spChg chg="add del">
          <ac:chgData name="Filipe Moreira" userId="fa9bf1d2-47eb-439d-b2f4-ca03a48a6bbf" providerId="ADAL" clId="{00FA8EE1-9134-4261-9C3B-EE800857B6B7}" dt="2020-06-16T12:07:39.007" v="257" actId="12084"/>
          <ac:spMkLst>
            <pc:docMk/>
            <pc:sldMk cId="3686692616" sldId="280"/>
            <ac:spMk id="5" creationId="{00000000-0000-0000-0000-000000000000}"/>
          </ac:spMkLst>
        </pc:spChg>
        <pc:graphicFrameChg chg="add del mod">
          <ac:chgData name="Filipe Moreira" userId="fa9bf1d2-47eb-439d-b2f4-ca03a48a6bbf" providerId="ADAL" clId="{00FA8EE1-9134-4261-9C3B-EE800857B6B7}" dt="2020-06-16T12:07:39.007" v="257" actId="12084"/>
          <ac:graphicFrameMkLst>
            <pc:docMk/>
            <pc:sldMk cId="3686692616" sldId="280"/>
            <ac:graphicFrameMk id="2" creationId="{CB2717BB-96FF-4D14-B18F-665529B2F382}"/>
          </ac:graphicFrameMkLst>
        </pc:graphicFrameChg>
      </pc:sldChg>
      <pc:sldChg chg="modSp del modTransition">
        <pc:chgData name="Filipe Moreira" userId="fa9bf1d2-47eb-439d-b2f4-ca03a48a6bbf" providerId="ADAL" clId="{00FA8EE1-9134-4261-9C3B-EE800857B6B7}" dt="2020-06-16T15:01:28.718" v="932" actId="2696"/>
        <pc:sldMkLst>
          <pc:docMk/>
          <pc:sldMk cId="2188395802" sldId="281"/>
        </pc:sldMkLst>
        <pc:spChg chg="mod">
          <ac:chgData name="Filipe Moreira" userId="fa9bf1d2-47eb-439d-b2f4-ca03a48a6bbf" providerId="ADAL" clId="{00FA8EE1-9134-4261-9C3B-EE800857B6B7}" dt="2020-06-16T12:07:29.667" v="255"/>
          <ac:spMkLst>
            <pc:docMk/>
            <pc:sldMk cId="2188395802" sldId="281"/>
            <ac:spMk id="4" creationId="{00000000-0000-0000-0000-000000000000}"/>
          </ac:spMkLst>
        </pc:spChg>
      </pc:sldChg>
      <pc:sldChg chg="addSp delSp modSp">
        <pc:chgData name="Filipe Moreira" userId="fa9bf1d2-47eb-439d-b2f4-ca03a48a6bbf" providerId="ADAL" clId="{00FA8EE1-9134-4261-9C3B-EE800857B6B7}" dt="2020-06-16T12:24:52.100" v="421" actId="207"/>
        <pc:sldMkLst>
          <pc:docMk/>
          <pc:sldMk cId="2189783365" sldId="282"/>
        </pc:sldMkLst>
        <pc:spChg chg="mod">
          <ac:chgData name="Filipe Moreira" userId="fa9bf1d2-47eb-439d-b2f4-ca03a48a6bbf" providerId="ADAL" clId="{00FA8EE1-9134-4261-9C3B-EE800857B6B7}" dt="2020-06-16T12:24:52.100" v="421" actId="207"/>
          <ac:spMkLst>
            <pc:docMk/>
            <pc:sldMk cId="2189783365" sldId="282"/>
            <ac:spMk id="2" creationId="{00000000-0000-0000-0000-000000000000}"/>
          </ac:spMkLst>
        </pc:spChg>
        <pc:spChg chg="del">
          <ac:chgData name="Filipe Moreira" userId="fa9bf1d2-47eb-439d-b2f4-ca03a48a6bbf" providerId="ADAL" clId="{00FA8EE1-9134-4261-9C3B-EE800857B6B7}" dt="2020-06-16T12:09:10.483" v="258" actId="12084"/>
          <ac:spMkLst>
            <pc:docMk/>
            <pc:sldMk cId="2189783365" sldId="282"/>
            <ac:spMk id="3" creationId="{00000000-0000-0000-0000-000000000000}"/>
          </ac:spMkLst>
        </pc:spChg>
        <pc:graphicFrameChg chg="add mod">
          <ac:chgData name="Filipe Moreira" userId="fa9bf1d2-47eb-439d-b2f4-ca03a48a6bbf" providerId="ADAL" clId="{00FA8EE1-9134-4261-9C3B-EE800857B6B7}" dt="2020-06-16T12:09:10.483" v="258" actId="12084"/>
          <ac:graphicFrameMkLst>
            <pc:docMk/>
            <pc:sldMk cId="2189783365" sldId="282"/>
            <ac:graphicFrameMk id="4" creationId="{7527D1DA-1E34-4C9E-874B-D0B6DCE9B163}"/>
          </ac:graphicFrameMkLst>
        </pc:graphicFrameChg>
      </pc:sldChg>
      <pc:sldChg chg="addSp delSp modSp">
        <pc:chgData name="Filipe Moreira" userId="fa9bf1d2-47eb-439d-b2f4-ca03a48a6bbf" providerId="ADAL" clId="{00FA8EE1-9134-4261-9C3B-EE800857B6B7}" dt="2020-06-16T12:25:02.265" v="422" actId="207"/>
        <pc:sldMkLst>
          <pc:docMk/>
          <pc:sldMk cId="617746162" sldId="283"/>
        </pc:sldMkLst>
        <pc:spChg chg="mod">
          <ac:chgData name="Filipe Moreira" userId="fa9bf1d2-47eb-439d-b2f4-ca03a48a6bbf" providerId="ADAL" clId="{00FA8EE1-9134-4261-9C3B-EE800857B6B7}" dt="2020-06-16T12:25:02.265" v="422" actId="207"/>
          <ac:spMkLst>
            <pc:docMk/>
            <pc:sldMk cId="617746162" sldId="283"/>
            <ac:spMk id="2" creationId="{00000000-0000-0000-0000-000000000000}"/>
          </ac:spMkLst>
        </pc:spChg>
        <pc:spChg chg="del">
          <ac:chgData name="Filipe Moreira" userId="fa9bf1d2-47eb-439d-b2f4-ca03a48a6bbf" providerId="ADAL" clId="{00FA8EE1-9134-4261-9C3B-EE800857B6B7}" dt="2020-06-16T12:09:25.910" v="259" actId="12084"/>
          <ac:spMkLst>
            <pc:docMk/>
            <pc:sldMk cId="617746162" sldId="283"/>
            <ac:spMk id="3" creationId="{00000000-0000-0000-0000-000000000000}"/>
          </ac:spMkLst>
        </pc:spChg>
        <pc:graphicFrameChg chg="add mod">
          <ac:chgData name="Filipe Moreira" userId="fa9bf1d2-47eb-439d-b2f4-ca03a48a6bbf" providerId="ADAL" clId="{00FA8EE1-9134-4261-9C3B-EE800857B6B7}" dt="2020-06-16T12:09:25.910" v="259" actId="12084"/>
          <ac:graphicFrameMkLst>
            <pc:docMk/>
            <pc:sldMk cId="617746162" sldId="283"/>
            <ac:graphicFrameMk id="4" creationId="{62F52965-5030-4DB7-835F-DB3B199CCF37}"/>
          </ac:graphicFrameMkLst>
        </pc:graphicFrameChg>
      </pc:sldChg>
      <pc:sldChg chg="addSp delSp modSp mod">
        <pc:chgData name="Filipe Moreira" userId="fa9bf1d2-47eb-439d-b2f4-ca03a48a6bbf" providerId="ADAL" clId="{00FA8EE1-9134-4261-9C3B-EE800857B6B7}" dt="2020-06-16T12:25:06.769" v="423" actId="207"/>
        <pc:sldMkLst>
          <pc:docMk/>
          <pc:sldMk cId="391200088" sldId="284"/>
        </pc:sldMkLst>
        <pc:spChg chg="mod">
          <ac:chgData name="Filipe Moreira" userId="fa9bf1d2-47eb-439d-b2f4-ca03a48a6bbf" providerId="ADAL" clId="{00FA8EE1-9134-4261-9C3B-EE800857B6B7}" dt="2020-06-16T12:25:06.769" v="423" actId="207"/>
          <ac:spMkLst>
            <pc:docMk/>
            <pc:sldMk cId="391200088" sldId="284"/>
            <ac:spMk id="2" creationId="{00000000-0000-0000-0000-000000000000}"/>
          </ac:spMkLst>
        </pc:spChg>
        <pc:spChg chg="del mod">
          <ac:chgData name="Filipe Moreira" userId="fa9bf1d2-47eb-439d-b2f4-ca03a48a6bbf" providerId="ADAL" clId="{00FA8EE1-9134-4261-9C3B-EE800857B6B7}" dt="2020-06-16T12:10:54.929" v="264" actId="12084"/>
          <ac:spMkLst>
            <pc:docMk/>
            <pc:sldMk cId="391200088" sldId="284"/>
            <ac:spMk id="4" creationId="{00000000-0000-0000-0000-000000000000}"/>
          </ac:spMkLst>
        </pc:spChg>
        <pc:spChg chg="add mod">
          <ac:chgData name="Filipe Moreira" userId="fa9bf1d2-47eb-439d-b2f4-ca03a48a6bbf" providerId="ADAL" clId="{00FA8EE1-9134-4261-9C3B-EE800857B6B7}" dt="2020-06-16T12:12:07.987" v="278" actId="14100"/>
          <ac:spMkLst>
            <pc:docMk/>
            <pc:sldMk cId="391200088" sldId="284"/>
            <ac:spMk id="5" creationId="{A078D2DC-0FFE-4523-8DE3-430F4DEC26E8}"/>
          </ac:spMkLst>
        </pc:spChg>
        <pc:graphicFrameChg chg="add mod">
          <ac:chgData name="Filipe Moreira" userId="fa9bf1d2-47eb-439d-b2f4-ca03a48a6bbf" providerId="ADAL" clId="{00FA8EE1-9134-4261-9C3B-EE800857B6B7}" dt="2020-06-16T12:12:14.043" v="280" actId="14100"/>
          <ac:graphicFrameMkLst>
            <pc:docMk/>
            <pc:sldMk cId="391200088" sldId="284"/>
            <ac:graphicFrameMk id="3" creationId="{1FF07151-7F86-4F19-9339-55F56DF00719}"/>
          </ac:graphicFrameMkLst>
        </pc:graphicFrameChg>
      </pc:sldChg>
      <pc:sldChg chg="addSp delSp modSp mod delAnim modAnim">
        <pc:chgData name="Filipe Moreira" userId="fa9bf1d2-47eb-439d-b2f4-ca03a48a6bbf" providerId="ADAL" clId="{00FA8EE1-9134-4261-9C3B-EE800857B6B7}" dt="2020-06-16T12:25:25.174" v="424" actId="207"/>
        <pc:sldMkLst>
          <pc:docMk/>
          <pc:sldMk cId="3076810162" sldId="285"/>
        </pc:sldMkLst>
        <pc:spChg chg="mod">
          <ac:chgData name="Filipe Moreira" userId="fa9bf1d2-47eb-439d-b2f4-ca03a48a6bbf" providerId="ADAL" clId="{00FA8EE1-9134-4261-9C3B-EE800857B6B7}" dt="2020-06-16T12:25:25.174" v="424" actId="207"/>
          <ac:spMkLst>
            <pc:docMk/>
            <pc:sldMk cId="3076810162" sldId="285"/>
            <ac:spMk id="2" creationId="{00000000-0000-0000-0000-000000000000}"/>
          </ac:spMkLst>
        </pc:spChg>
        <pc:spChg chg="del mod">
          <ac:chgData name="Filipe Moreira" userId="fa9bf1d2-47eb-439d-b2f4-ca03a48a6bbf" providerId="ADAL" clId="{00FA8EE1-9134-4261-9C3B-EE800857B6B7}" dt="2020-06-16T12:14:49.531" v="379" actId="478"/>
          <ac:spMkLst>
            <pc:docMk/>
            <pc:sldMk cId="3076810162" sldId="285"/>
            <ac:spMk id="4" creationId="{00000000-0000-0000-0000-000000000000}"/>
          </ac:spMkLst>
        </pc:spChg>
        <pc:spChg chg="del">
          <ac:chgData name="Filipe Moreira" userId="fa9bf1d2-47eb-439d-b2f4-ca03a48a6bbf" providerId="ADAL" clId="{00FA8EE1-9134-4261-9C3B-EE800857B6B7}" dt="2020-06-16T12:13:47.028" v="283" actId="12084"/>
          <ac:spMkLst>
            <pc:docMk/>
            <pc:sldMk cId="3076810162" sldId="285"/>
            <ac:spMk id="5" creationId="{17E48C7C-E799-423F-B337-A67378E39DDD}"/>
          </ac:spMkLst>
        </pc:spChg>
        <pc:spChg chg="del mod">
          <ac:chgData name="Filipe Moreira" userId="fa9bf1d2-47eb-439d-b2f4-ca03a48a6bbf" providerId="ADAL" clId="{00FA8EE1-9134-4261-9C3B-EE800857B6B7}" dt="2020-06-16T12:14:52.366" v="380" actId="478"/>
          <ac:spMkLst>
            <pc:docMk/>
            <pc:sldMk cId="3076810162" sldId="285"/>
            <ac:spMk id="6" creationId="{2D47CE71-5E3E-43F8-A3FF-FF426D4C923E}"/>
          </ac:spMkLst>
        </pc:spChg>
        <pc:spChg chg="add del mod">
          <ac:chgData name="Filipe Moreira" userId="fa9bf1d2-47eb-439d-b2f4-ca03a48a6bbf" providerId="ADAL" clId="{00FA8EE1-9134-4261-9C3B-EE800857B6B7}" dt="2020-06-16T12:15:07.324" v="385" actId="478"/>
          <ac:spMkLst>
            <pc:docMk/>
            <pc:sldMk cId="3076810162" sldId="285"/>
            <ac:spMk id="7" creationId="{B3F6FEA8-68B4-4852-BC07-FB768F1F104A}"/>
          </ac:spMkLst>
        </pc:spChg>
        <pc:spChg chg="del mod">
          <ac:chgData name="Filipe Moreira" userId="fa9bf1d2-47eb-439d-b2f4-ca03a48a6bbf" providerId="ADAL" clId="{00FA8EE1-9134-4261-9C3B-EE800857B6B7}" dt="2020-06-16T12:14:48.351" v="378" actId="478"/>
          <ac:spMkLst>
            <pc:docMk/>
            <pc:sldMk cId="3076810162" sldId="285"/>
            <ac:spMk id="8" creationId="{3B13469D-153D-4240-BE24-71DDA59BBDAD}"/>
          </ac:spMkLst>
        </pc:spChg>
        <pc:graphicFrameChg chg="add mod">
          <ac:chgData name="Filipe Moreira" userId="fa9bf1d2-47eb-439d-b2f4-ca03a48a6bbf" providerId="ADAL" clId="{00FA8EE1-9134-4261-9C3B-EE800857B6B7}" dt="2020-06-16T12:15:46.360" v="392" actId="113"/>
          <ac:graphicFrameMkLst>
            <pc:docMk/>
            <pc:sldMk cId="3076810162" sldId="285"/>
            <ac:graphicFrameMk id="3" creationId="{C1C185F5-318A-4783-BB64-0B012022B5A6}"/>
          </ac:graphicFrameMkLst>
        </pc:graphicFrameChg>
      </pc:sldChg>
      <pc:sldChg chg="addSp delSp modSp">
        <pc:chgData name="Filipe Moreira" userId="fa9bf1d2-47eb-439d-b2f4-ca03a48a6bbf" providerId="ADAL" clId="{00FA8EE1-9134-4261-9C3B-EE800857B6B7}" dt="2020-06-16T15:11:01.259" v="988" actId="12084"/>
        <pc:sldMkLst>
          <pc:docMk/>
          <pc:sldMk cId="877002824" sldId="286"/>
        </pc:sldMkLst>
        <pc:spChg chg="mod">
          <ac:chgData name="Filipe Moreira" userId="fa9bf1d2-47eb-439d-b2f4-ca03a48a6bbf" providerId="ADAL" clId="{00FA8EE1-9134-4261-9C3B-EE800857B6B7}" dt="2020-06-16T12:25:30.039" v="425" actId="207"/>
          <ac:spMkLst>
            <pc:docMk/>
            <pc:sldMk cId="877002824" sldId="286"/>
            <ac:spMk id="2" creationId="{00000000-0000-0000-0000-000000000000}"/>
          </ac:spMkLst>
        </pc:spChg>
        <pc:spChg chg="del">
          <ac:chgData name="Filipe Moreira" userId="fa9bf1d2-47eb-439d-b2f4-ca03a48a6bbf" providerId="ADAL" clId="{00FA8EE1-9134-4261-9C3B-EE800857B6B7}" dt="2020-06-16T15:11:01.259" v="988" actId="12084"/>
          <ac:spMkLst>
            <pc:docMk/>
            <pc:sldMk cId="877002824" sldId="286"/>
            <ac:spMk id="3" creationId="{00000000-0000-0000-0000-000000000000}"/>
          </ac:spMkLst>
        </pc:spChg>
        <pc:graphicFrameChg chg="add mod">
          <ac:chgData name="Filipe Moreira" userId="fa9bf1d2-47eb-439d-b2f4-ca03a48a6bbf" providerId="ADAL" clId="{00FA8EE1-9134-4261-9C3B-EE800857B6B7}" dt="2020-06-16T15:11:01.259" v="988" actId="12084"/>
          <ac:graphicFrameMkLst>
            <pc:docMk/>
            <pc:sldMk cId="877002824" sldId="286"/>
            <ac:graphicFrameMk id="4" creationId="{EFFF20FA-DDA2-4793-BA85-2BE8A7E3B36E}"/>
          </ac:graphicFrameMkLst>
        </pc:graphicFrameChg>
      </pc:sldChg>
      <pc:sldChg chg="del">
        <pc:chgData name="Filipe Moreira" userId="fa9bf1d2-47eb-439d-b2f4-ca03a48a6bbf" providerId="ADAL" clId="{00FA8EE1-9134-4261-9C3B-EE800857B6B7}" dt="2020-06-16T11:13:27.166" v="98" actId="47"/>
        <pc:sldMkLst>
          <pc:docMk/>
          <pc:sldMk cId="1643290525" sldId="287"/>
        </pc:sldMkLst>
      </pc:sldChg>
      <pc:sldChg chg="modSp ord">
        <pc:chgData name="Filipe Moreira" userId="fa9bf1d2-47eb-439d-b2f4-ca03a48a6bbf" providerId="ADAL" clId="{00FA8EE1-9134-4261-9C3B-EE800857B6B7}" dt="2020-06-16T14:45:33.953" v="794"/>
        <pc:sldMkLst>
          <pc:docMk/>
          <pc:sldMk cId="555180019" sldId="288"/>
        </pc:sldMkLst>
        <pc:spChg chg="mod">
          <ac:chgData name="Filipe Moreira" userId="fa9bf1d2-47eb-439d-b2f4-ca03a48a6bbf" providerId="ADAL" clId="{00FA8EE1-9134-4261-9C3B-EE800857B6B7}" dt="2020-06-16T12:25:36.185" v="426" actId="207"/>
          <ac:spMkLst>
            <pc:docMk/>
            <pc:sldMk cId="555180019" sldId="288"/>
            <ac:spMk id="1643" creationId="{00000000-0000-0000-0000-000000000000}"/>
          </ac:spMkLst>
        </pc:spChg>
      </pc:sldChg>
      <pc:sldChg chg="addSp delSp modSp mod modNotesTx">
        <pc:chgData name="Filipe Moreira" userId="fa9bf1d2-47eb-439d-b2f4-ca03a48a6bbf" providerId="ADAL" clId="{00FA8EE1-9134-4261-9C3B-EE800857B6B7}" dt="2020-06-16T15:08:50.338" v="985" actId="12084"/>
        <pc:sldMkLst>
          <pc:docMk/>
          <pc:sldMk cId="4006707211" sldId="289"/>
        </pc:sldMkLst>
        <pc:spChg chg="mod">
          <ac:chgData name="Filipe Moreira" userId="fa9bf1d2-47eb-439d-b2f4-ca03a48a6bbf" providerId="ADAL" clId="{00FA8EE1-9134-4261-9C3B-EE800857B6B7}" dt="2020-06-16T12:25:42.132" v="427" actId="207"/>
          <ac:spMkLst>
            <pc:docMk/>
            <pc:sldMk cId="4006707211" sldId="289"/>
            <ac:spMk id="4" creationId="{00000000-0000-0000-0000-000000000000}"/>
          </ac:spMkLst>
        </pc:spChg>
        <pc:spChg chg="del mod">
          <ac:chgData name="Filipe Moreira" userId="fa9bf1d2-47eb-439d-b2f4-ca03a48a6bbf" providerId="ADAL" clId="{00FA8EE1-9134-4261-9C3B-EE800857B6B7}" dt="2020-06-16T15:08:50.338" v="985" actId="12084"/>
          <ac:spMkLst>
            <pc:docMk/>
            <pc:sldMk cId="4006707211" sldId="289"/>
            <ac:spMk id="5" creationId="{00000000-0000-0000-0000-000000000000}"/>
          </ac:spMkLst>
        </pc:spChg>
        <pc:graphicFrameChg chg="add mod">
          <ac:chgData name="Filipe Moreira" userId="fa9bf1d2-47eb-439d-b2f4-ca03a48a6bbf" providerId="ADAL" clId="{00FA8EE1-9134-4261-9C3B-EE800857B6B7}" dt="2020-06-16T15:08:50.338" v="985" actId="12084"/>
          <ac:graphicFrameMkLst>
            <pc:docMk/>
            <pc:sldMk cId="4006707211" sldId="289"/>
            <ac:graphicFrameMk id="2" creationId="{EE921FEF-31A5-45B4-BEDC-74D6FBAF51FF}"/>
          </ac:graphicFrameMkLst>
        </pc:graphicFrameChg>
      </pc:sldChg>
      <pc:sldChg chg="addSp delSp modSp">
        <pc:chgData name="Filipe Moreira" userId="fa9bf1d2-47eb-439d-b2f4-ca03a48a6bbf" providerId="ADAL" clId="{00FA8EE1-9134-4261-9C3B-EE800857B6B7}" dt="2020-06-16T15:10:11.134" v="986" actId="12084"/>
        <pc:sldMkLst>
          <pc:docMk/>
          <pc:sldMk cId="154391681" sldId="290"/>
        </pc:sldMkLst>
        <pc:spChg chg="mod">
          <ac:chgData name="Filipe Moreira" userId="fa9bf1d2-47eb-439d-b2f4-ca03a48a6bbf" providerId="ADAL" clId="{00FA8EE1-9134-4261-9C3B-EE800857B6B7}" dt="2020-06-16T12:25:48.773" v="428" actId="207"/>
          <ac:spMkLst>
            <pc:docMk/>
            <pc:sldMk cId="154391681" sldId="290"/>
            <ac:spMk id="2" creationId="{00000000-0000-0000-0000-000000000000}"/>
          </ac:spMkLst>
        </pc:spChg>
        <pc:spChg chg="del">
          <ac:chgData name="Filipe Moreira" userId="fa9bf1d2-47eb-439d-b2f4-ca03a48a6bbf" providerId="ADAL" clId="{00FA8EE1-9134-4261-9C3B-EE800857B6B7}" dt="2020-06-16T15:10:11.134" v="986" actId="12084"/>
          <ac:spMkLst>
            <pc:docMk/>
            <pc:sldMk cId="154391681" sldId="290"/>
            <ac:spMk id="3" creationId="{00000000-0000-0000-0000-000000000000}"/>
          </ac:spMkLst>
        </pc:spChg>
        <pc:graphicFrameChg chg="add mod">
          <ac:chgData name="Filipe Moreira" userId="fa9bf1d2-47eb-439d-b2f4-ca03a48a6bbf" providerId="ADAL" clId="{00FA8EE1-9134-4261-9C3B-EE800857B6B7}" dt="2020-06-16T15:10:11.134" v="986" actId="12084"/>
          <ac:graphicFrameMkLst>
            <pc:docMk/>
            <pc:sldMk cId="154391681" sldId="290"/>
            <ac:graphicFrameMk id="4" creationId="{F4E0CEB4-1EDC-4E6A-BB02-78354D86C985}"/>
          </ac:graphicFrameMkLst>
        </pc:graphicFrameChg>
      </pc:sldChg>
      <pc:sldChg chg="addSp delSp modSp">
        <pc:chgData name="Filipe Moreira" userId="fa9bf1d2-47eb-439d-b2f4-ca03a48a6bbf" providerId="ADAL" clId="{00FA8EE1-9134-4261-9C3B-EE800857B6B7}" dt="2020-06-16T15:10:25.710" v="987" actId="12084"/>
        <pc:sldMkLst>
          <pc:docMk/>
          <pc:sldMk cId="4219686795" sldId="291"/>
        </pc:sldMkLst>
        <pc:spChg chg="mod">
          <ac:chgData name="Filipe Moreira" userId="fa9bf1d2-47eb-439d-b2f4-ca03a48a6bbf" providerId="ADAL" clId="{00FA8EE1-9134-4261-9C3B-EE800857B6B7}" dt="2020-06-16T12:25:51.994" v="429" actId="207"/>
          <ac:spMkLst>
            <pc:docMk/>
            <pc:sldMk cId="4219686795" sldId="291"/>
            <ac:spMk id="2" creationId="{00000000-0000-0000-0000-000000000000}"/>
          </ac:spMkLst>
        </pc:spChg>
        <pc:spChg chg="del">
          <ac:chgData name="Filipe Moreira" userId="fa9bf1d2-47eb-439d-b2f4-ca03a48a6bbf" providerId="ADAL" clId="{00FA8EE1-9134-4261-9C3B-EE800857B6B7}" dt="2020-06-16T15:10:25.710" v="987" actId="12084"/>
          <ac:spMkLst>
            <pc:docMk/>
            <pc:sldMk cId="4219686795" sldId="291"/>
            <ac:spMk id="3" creationId="{00000000-0000-0000-0000-000000000000}"/>
          </ac:spMkLst>
        </pc:spChg>
        <pc:graphicFrameChg chg="add mod">
          <ac:chgData name="Filipe Moreira" userId="fa9bf1d2-47eb-439d-b2f4-ca03a48a6bbf" providerId="ADAL" clId="{00FA8EE1-9134-4261-9C3B-EE800857B6B7}" dt="2020-06-16T15:10:25.710" v="987" actId="12084"/>
          <ac:graphicFrameMkLst>
            <pc:docMk/>
            <pc:sldMk cId="4219686795" sldId="291"/>
            <ac:graphicFrameMk id="4" creationId="{F9F567F8-955A-4F13-822E-315EB13C144F}"/>
          </ac:graphicFrameMkLst>
        </pc:graphicFrameChg>
      </pc:sldChg>
      <pc:sldChg chg="addSp delSp modSp mod modNotesTx">
        <pc:chgData name="Filipe Moreira" userId="fa9bf1d2-47eb-439d-b2f4-ca03a48a6bbf" providerId="ADAL" clId="{00FA8EE1-9134-4261-9C3B-EE800857B6B7}" dt="2020-06-16T12:31:51.937" v="499" actId="6549"/>
        <pc:sldMkLst>
          <pc:docMk/>
          <pc:sldMk cId="2041083804" sldId="292"/>
        </pc:sldMkLst>
        <pc:spChg chg="mod">
          <ac:chgData name="Filipe Moreira" userId="fa9bf1d2-47eb-439d-b2f4-ca03a48a6bbf" providerId="ADAL" clId="{00FA8EE1-9134-4261-9C3B-EE800857B6B7}" dt="2020-06-16T12:25:57.527" v="430" actId="207"/>
          <ac:spMkLst>
            <pc:docMk/>
            <pc:sldMk cId="2041083804" sldId="292"/>
            <ac:spMk id="2" creationId="{00000000-0000-0000-0000-000000000000}"/>
          </ac:spMkLst>
        </pc:spChg>
        <pc:spChg chg="del">
          <ac:chgData name="Filipe Moreira" userId="fa9bf1d2-47eb-439d-b2f4-ca03a48a6bbf" providerId="ADAL" clId="{00FA8EE1-9134-4261-9C3B-EE800857B6B7}" dt="2020-06-16T12:27:21.944" v="434" actId="478"/>
          <ac:spMkLst>
            <pc:docMk/>
            <pc:sldMk cId="2041083804" sldId="292"/>
            <ac:spMk id="3" creationId="{97661DDF-866F-4206-9F7C-C955E303E3CD}"/>
          </ac:spMkLst>
        </pc:spChg>
        <pc:spChg chg="add mod">
          <ac:chgData name="Filipe Moreira" userId="fa9bf1d2-47eb-439d-b2f4-ca03a48a6bbf" providerId="ADAL" clId="{00FA8EE1-9134-4261-9C3B-EE800857B6B7}" dt="2020-06-16T12:29:18.271" v="442" actId="1076"/>
          <ac:spMkLst>
            <pc:docMk/>
            <pc:sldMk cId="2041083804" sldId="292"/>
            <ac:spMk id="4" creationId="{2BD34214-2A6D-4BF3-9994-0C93F23375BC}"/>
          </ac:spMkLst>
        </pc:spChg>
        <pc:spChg chg="mod">
          <ac:chgData name="Filipe Moreira" userId="fa9bf1d2-47eb-439d-b2f4-ca03a48a6bbf" providerId="ADAL" clId="{00FA8EE1-9134-4261-9C3B-EE800857B6B7}" dt="2020-06-16T12:27:58.049" v="436" actId="255"/>
          <ac:spMkLst>
            <pc:docMk/>
            <pc:sldMk cId="2041083804" sldId="292"/>
            <ac:spMk id="5" creationId="{00000000-0000-0000-0000-000000000000}"/>
          </ac:spMkLst>
        </pc:spChg>
        <pc:spChg chg="add del mod">
          <ac:chgData name="Filipe Moreira" userId="fa9bf1d2-47eb-439d-b2f4-ca03a48a6bbf" providerId="ADAL" clId="{00FA8EE1-9134-4261-9C3B-EE800857B6B7}" dt="2020-06-16T12:30:20.929" v="445" actId="12084"/>
          <ac:spMkLst>
            <pc:docMk/>
            <pc:sldMk cId="2041083804" sldId="292"/>
            <ac:spMk id="6" creationId="{EE74C991-ACF7-42FF-940C-E824D2381D77}"/>
          </ac:spMkLst>
        </pc:spChg>
        <pc:graphicFrameChg chg="add mod">
          <ac:chgData name="Filipe Moreira" userId="fa9bf1d2-47eb-439d-b2f4-ca03a48a6bbf" providerId="ADAL" clId="{00FA8EE1-9134-4261-9C3B-EE800857B6B7}" dt="2020-06-16T12:31:33.573" v="498" actId="1076"/>
          <ac:graphicFrameMkLst>
            <pc:docMk/>
            <pc:sldMk cId="2041083804" sldId="292"/>
            <ac:graphicFrameMk id="7" creationId="{8D54C87F-1E80-4F48-9F84-779CEA6E6553}"/>
          </ac:graphicFrameMkLst>
        </pc:graphicFrameChg>
      </pc:sldChg>
      <pc:sldChg chg="del">
        <pc:chgData name="Filipe Moreira" userId="fa9bf1d2-47eb-439d-b2f4-ca03a48a6bbf" providerId="ADAL" clId="{00FA8EE1-9134-4261-9C3B-EE800857B6B7}" dt="2020-06-16T11:18:13.227" v="111" actId="2696"/>
        <pc:sldMkLst>
          <pc:docMk/>
          <pc:sldMk cId="2313558554" sldId="293"/>
        </pc:sldMkLst>
      </pc:sldChg>
      <pc:sldChg chg="modSp mod">
        <pc:chgData name="Filipe Moreira" userId="fa9bf1d2-47eb-439d-b2f4-ca03a48a6bbf" providerId="ADAL" clId="{00FA8EE1-9134-4261-9C3B-EE800857B6B7}" dt="2020-06-16T15:48:51.718" v="1147" actId="14100"/>
        <pc:sldMkLst>
          <pc:docMk/>
          <pc:sldMk cId="1318701438" sldId="294"/>
        </pc:sldMkLst>
        <pc:spChg chg="mod">
          <ac:chgData name="Filipe Moreira" userId="fa9bf1d2-47eb-439d-b2f4-ca03a48a6bbf" providerId="ADAL" clId="{00FA8EE1-9134-4261-9C3B-EE800857B6B7}" dt="2020-06-16T12:32:25.582" v="503" actId="207"/>
          <ac:spMkLst>
            <pc:docMk/>
            <pc:sldMk cId="1318701438" sldId="294"/>
            <ac:spMk id="2" creationId="{00000000-0000-0000-0000-000000000000}"/>
          </ac:spMkLst>
        </pc:spChg>
        <pc:graphicFrameChg chg="mod modGraphic">
          <ac:chgData name="Filipe Moreira" userId="fa9bf1d2-47eb-439d-b2f4-ca03a48a6bbf" providerId="ADAL" clId="{00FA8EE1-9134-4261-9C3B-EE800857B6B7}" dt="2020-06-16T15:48:51.718" v="1147" actId="14100"/>
          <ac:graphicFrameMkLst>
            <pc:docMk/>
            <pc:sldMk cId="1318701438" sldId="294"/>
            <ac:graphicFrameMk id="4" creationId="{00000000-0000-0000-0000-000000000000}"/>
          </ac:graphicFrameMkLst>
        </pc:graphicFrameChg>
        <pc:graphicFrameChg chg="mod modGraphic">
          <ac:chgData name="Filipe Moreira" userId="fa9bf1d2-47eb-439d-b2f4-ca03a48a6bbf" providerId="ADAL" clId="{00FA8EE1-9134-4261-9C3B-EE800857B6B7}" dt="2020-06-16T15:40:14.410" v="1095" actId="1076"/>
          <ac:graphicFrameMkLst>
            <pc:docMk/>
            <pc:sldMk cId="1318701438" sldId="294"/>
            <ac:graphicFrameMk id="5" creationId="{00000000-0000-0000-0000-000000000000}"/>
          </ac:graphicFrameMkLst>
        </pc:graphicFrameChg>
      </pc:sldChg>
      <pc:sldChg chg="modSp mod">
        <pc:chgData name="Filipe Moreira" userId="fa9bf1d2-47eb-439d-b2f4-ca03a48a6bbf" providerId="ADAL" clId="{00FA8EE1-9134-4261-9C3B-EE800857B6B7}" dt="2020-06-16T15:40:30.392" v="1096" actId="255"/>
        <pc:sldMkLst>
          <pc:docMk/>
          <pc:sldMk cId="1072450542" sldId="295"/>
        </pc:sldMkLst>
        <pc:spChg chg="mod">
          <ac:chgData name="Filipe Moreira" userId="fa9bf1d2-47eb-439d-b2f4-ca03a48a6bbf" providerId="ADAL" clId="{00FA8EE1-9134-4261-9C3B-EE800857B6B7}" dt="2020-06-16T12:32:31.257" v="504" actId="207"/>
          <ac:spMkLst>
            <pc:docMk/>
            <pc:sldMk cId="1072450542" sldId="295"/>
            <ac:spMk id="2" creationId="{00000000-0000-0000-0000-000000000000}"/>
          </ac:spMkLst>
        </pc:spChg>
        <pc:graphicFrameChg chg="modGraphic">
          <ac:chgData name="Filipe Moreira" userId="fa9bf1d2-47eb-439d-b2f4-ca03a48a6bbf" providerId="ADAL" clId="{00FA8EE1-9134-4261-9C3B-EE800857B6B7}" dt="2020-06-16T15:40:30.392" v="1096" actId="255"/>
          <ac:graphicFrameMkLst>
            <pc:docMk/>
            <pc:sldMk cId="1072450542" sldId="295"/>
            <ac:graphicFrameMk id="4" creationId="{00000000-0000-0000-0000-000000000000}"/>
          </ac:graphicFrameMkLst>
        </pc:graphicFrameChg>
      </pc:sldChg>
      <pc:sldChg chg="modSp mod">
        <pc:chgData name="Filipe Moreira" userId="fa9bf1d2-47eb-439d-b2f4-ca03a48a6bbf" providerId="ADAL" clId="{00FA8EE1-9134-4261-9C3B-EE800857B6B7}" dt="2020-06-16T15:40:45.749" v="1097" actId="255"/>
        <pc:sldMkLst>
          <pc:docMk/>
          <pc:sldMk cId="2948749846" sldId="296"/>
        </pc:sldMkLst>
        <pc:spChg chg="mod">
          <ac:chgData name="Filipe Moreira" userId="fa9bf1d2-47eb-439d-b2f4-ca03a48a6bbf" providerId="ADAL" clId="{00FA8EE1-9134-4261-9C3B-EE800857B6B7}" dt="2020-06-16T12:32:15.928" v="500" actId="207"/>
          <ac:spMkLst>
            <pc:docMk/>
            <pc:sldMk cId="2948749846" sldId="296"/>
            <ac:spMk id="6" creationId="{00000000-0000-0000-0000-000000000000}"/>
          </ac:spMkLst>
        </pc:spChg>
        <pc:graphicFrameChg chg="modGraphic">
          <ac:chgData name="Filipe Moreira" userId="fa9bf1d2-47eb-439d-b2f4-ca03a48a6bbf" providerId="ADAL" clId="{00FA8EE1-9134-4261-9C3B-EE800857B6B7}" dt="2020-06-16T15:40:45.749" v="1097" actId="255"/>
          <ac:graphicFrameMkLst>
            <pc:docMk/>
            <pc:sldMk cId="2948749846" sldId="296"/>
            <ac:graphicFrameMk id="3" creationId="{00000000-0000-0000-0000-000000000000}"/>
          </ac:graphicFrameMkLst>
        </pc:graphicFrameChg>
        <pc:picChg chg="mod">
          <ac:chgData name="Filipe Moreira" userId="fa9bf1d2-47eb-439d-b2f4-ca03a48a6bbf" providerId="ADAL" clId="{00FA8EE1-9134-4261-9C3B-EE800857B6B7}" dt="2020-06-16T12:07:29.667" v="255"/>
          <ac:picMkLst>
            <pc:docMk/>
            <pc:sldMk cId="2948749846" sldId="296"/>
            <ac:picMk id="4" creationId="{00000000-0000-0000-0000-000000000000}"/>
          </ac:picMkLst>
        </pc:picChg>
      </pc:sldChg>
      <pc:sldChg chg="addSp delSp modSp mod ord">
        <pc:chgData name="Filipe Moreira" userId="fa9bf1d2-47eb-439d-b2f4-ca03a48a6bbf" providerId="ADAL" clId="{00FA8EE1-9134-4261-9C3B-EE800857B6B7}" dt="2020-06-16T15:18:05.930" v="1030"/>
        <pc:sldMkLst>
          <pc:docMk/>
          <pc:sldMk cId="3343308098" sldId="297"/>
        </pc:sldMkLst>
        <pc:spChg chg="mod">
          <ac:chgData name="Filipe Moreira" userId="fa9bf1d2-47eb-439d-b2f4-ca03a48a6bbf" providerId="ADAL" clId="{00FA8EE1-9134-4261-9C3B-EE800857B6B7}" dt="2020-06-16T12:32:36.579" v="505" actId="207"/>
          <ac:spMkLst>
            <pc:docMk/>
            <pc:sldMk cId="3343308098" sldId="297"/>
            <ac:spMk id="2" creationId="{00000000-0000-0000-0000-000000000000}"/>
          </ac:spMkLst>
        </pc:spChg>
        <pc:spChg chg="del mod">
          <ac:chgData name="Filipe Moreira" userId="fa9bf1d2-47eb-439d-b2f4-ca03a48a6bbf" providerId="ADAL" clId="{00FA8EE1-9134-4261-9C3B-EE800857B6B7}" dt="2020-06-16T15:16:16.304" v="1021" actId="12084"/>
          <ac:spMkLst>
            <pc:docMk/>
            <pc:sldMk cId="3343308098" sldId="297"/>
            <ac:spMk id="3" creationId="{00000000-0000-0000-0000-000000000000}"/>
          </ac:spMkLst>
        </pc:spChg>
        <pc:graphicFrameChg chg="add mod">
          <ac:chgData name="Filipe Moreira" userId="fa9bf1d2-47eb-439d-b2f4-ca03a48a6bbf" providerId="ADAL" clId="{00FA8EE1-9134-4261-9C3B-EE800857B6B7}" dt="2020-06-16T15:17:34.770" v="1028" actId="2711"/>
          <ac:graphicFrameMkLst>
            <pc:docMk/>
            <pc:sldMk cId="3343308098" sldId="297"/>
            <ac:graphicFrameMk id="4" creationId="{654E446B-C5C3-452A-A2CD-6AD33F2D83E4}"/>
          </ac:graphicFrameMkLst>
        </pc:graphicFrameChg>
      </pc:sldChg>
      <pc:sldChg chg="delSp modSp del mod">
        <pc:chgData name="Filipe Moreira" userId="fa9bf1d2-47eb-439d-b2f4-ca03a48a6bbf" providerId="ADAL" clId="{00FA8EE1-9134-4261-9C3B-EE800857B6B7}" dt="2020-06-16T15:16:58.700" v="1024" actId="47"/>
        <pc:sldMkLst>
          <pc:docMk/>
          <pc:sldMk cId="3924890422" sldId="298"/>
        </pc:sldMkLst>
        <pc:spChg chg="mod">
          <ac:chgData name="Filipe Moreira" userId="fa9bf1d2-47eb-439d-b2f4-ca03a48a6bbf" providerId="ADAL" clId="{00FA8EE1-9134-4261-9C3B-EE800857B6B7}" dt="2020-06-16T15:12:58.324" v="998" actId="20577"/>
          <ac:spMkLst>
            <pc:docMk/>
            <pc:sldMk cId="3924890422" sldId="298"/>
            <ac:spMk id="2" creationId="{00000000-0000-0000-0000-000000000000}"/>
          </ac:spMkLst>
        </pc:spChg>
        <pc:spChg chg="del mod">
          <ac:chgData name="Filipe Moreira" userId="fa9bf1d2-47eb-439d-b2f4-ca03a48a6bbf" providerId="ADAL" clId="{00FA8EE1-9134-4261-9C3B-EE800857B6B7}" dt="2020-06-16T15:15:15.237" v="1018" actId="478"/>
          <ac:spMkLst>
            <pc:docMk/>
            <pc:sldMk cId="3924890422" sldId="298"/>
            <ac:spMk id="3" creationId="{00000000-0000-0000-0000-000000000000}"/>
          </ac:spMkLst>
        </pc:spChg>
        <pc:spChg chg="mod">
          <ac:chgData name="Filipe Moreira" userId="fa9bf1d2-47eb-439d-b2f4-ca03a48a6bbf" providerId="ADAL" clId="{00FA8EE1-9134-4261-9C3B-EE800857B6B7}" dt="2020-06-16T15:15:18.816" v="1019" actId="1076"/>
          <ac:spMkLst>
            <pc:docMk/>
            <pc:sldMk cId="3924890422" sldId="298"/>
            <ac:spMk id="4" creationId="{00000000-0000-0000-0000-000000000000}"/>
          </ac:spMkLst>
        </pc:spChg>
      </pc:sldChg>
      <pc:sldChg chg="modSp del mod">
        <pc:chgData name="Filipe Moreira" userId="fa9bf1d2-47eb-439d-b2f4-ca03a48a6bbf" providerId="ADAL" clId="{00FA8EE1-9134-4261-9C3B-EE800857B6B7}" dt="2020-06-16T15:14:33.016" v="1008" actId="47"/>
        <pc:sldMkLst>
          <pc:docMk/>
          <pc:sldMk cId="2040175682" sldId="299"/>
        </pc:sldMkLst>
        <pc:spChg chg="mod">
          <ac:chgData name="Filipe Moreira" userId="fa9bf1d2-47eb-439d-b2f4-ca03a48a6bbf" providerId="ADAL" clId="{00FA8EE1-9134-4261-9C3B-EE800857B6B7}" dt="2020-06-16T15:12:52.822" v="997" actId="20577"/>
          <ac:spMkLst>
            <pc:docMk/>
            <pc:sldMk cId="2040175682" sldId="299"/>
            <ac:spMk id="2" creationId="{00000000-0000-0000-0000-000000000000}"/>
          </ac:spMkLst>
        </pc:spChg>
      </pc:sldChg>
      <pc:sldChg chg="addSp delSp modSp mod ord">
        <pc:chgData name="Filipe Moreira" userId="fa9bf1d2-47eb-439d-b2f4-ca03a48a6bbf" providerId="ADAL" clId="{00FA8EE1-9134-4261-9C3B-EE800857B6B7}" dt="2020-06-16T15:33:27.206" v="1087" actId="1076"/>
        <pc:sldMkLst>
          <pc:docMk/>
          <pc:sldMk cId="3219276577" sldId="300"/>
        </pc:sldMkLst>
        <pc:spChg chg="mod">
          <ac:chgData name="Filipe Moreira" userId="fa9bf1d2-47eb-439d-b2f4-ca03a48a6bbf" providerId="ADAL" clId="{00FA8EE1-9134-4261-9C3B-EE800857B6B7}" dt="2020-06-16T14:12:45.474" v="758" actId="207"/>
          <ac:spMkLst>
            <pc:docMk/>
            <pc:sldMk cId="3219276577" sldId="300"/>
            <ac:spMk id="2" creationId="{00000000-0000-0000-0000-000000000000}"/>
          </ac:spMkLst>
        </pc:spChg>
        <pc:spChg chg="del">
          <ac:chgData name="Filipe Moreira" userId="fa9bf1d2-47eb-439d-b2f4-ca03a48a6bbf" providerId="ADAL" clId="{00FA8EE1-9134-4261-9C3B-EE800857B6B7}" dt="2020-06-16T15:25:36.554" v="1050" actId="12084"/>
          <ac:spMkLst>
            <pc:docMk/>
            <pc:sldMk cId="3219276577" sldId="300"/>
            <ac:spMk id="3" creationId="{00000000-0000-0000-0000-000000000000}"/>
          </ac:spMkLst>
        </pc:spChg>
        <pc:spChg chg="mod">
          <ac:chgData name="Filipe Moreira" userId="fa9bf1d2-47eb-439d-b2f4-ca03a48a6bbf" providerId="ADAL" clId="{00FA8EE1-9134-4261-9C3B-EE800857B6B7}" dt="2020-06-16T15:33:27.206" v="1087" actId="1076"/>
          <ac:spMkLst>
            <pc:docMk/>
            <pc:sldMk cId="3219276577" sldId="300"/>
            <ac:spMk id="4" creationId="{00000000-0000-0000-0000-000000000000}"/>
          </ac:spMkLst>
        </pc:spChg>
        <pc:spChg chg="mod">
          <ac:chgData name="Filipe Moreira" userId="fa9bf1d2-47eb-439d-b2f4-ca03a48a6bbf" providerId="ADAL" clId="{00FA8EE1-9134-4261-9C3B-EE800857B6B7}" dt="2020-06-16T15:33:19.758" v="1085" actId="1076"/>
          <ac:spMkLst>
            <pc:docMk/>
            <pc:sldMk cId="3219276577" sldId="300"/>
            <ac:spMk id="5" creationId="{00000000-0000-0000-0000-000000000000}"/>
          </ac:spMkLst>
        </pc:spChg>
        <pc:spChg chg="mod">
          <ac:chgData name="Filipe Moreira" userId="fa9bf1d2-47eb-439d-b2f4-ca03a48a6bbf" providerId="ADAL" clId="{00FA8EE1-9134-4261-9C3B-EE800857B6B7}" dt="2020-06-16T15:33:23.469" v="1086" actId="1076"/>
          <ac:spMkLst>
            <pc:docMk/>
            <pc:sldMk cId="3219276577" sldId="300"/>
            <ac:spMk id="6" creationId="{00000000-0000-0000-0000-000000000000}"/>
          </ac:spMkLst>
        </pc:spChg>
        <pc:graphicFrameChg chg="add mod">
          <ac:chgData name="Filipe Moreira" userId="fa9bf1d2-47eb-439d-b2f4-ca03a48a6bbf" providerId="ADAL" clId="{00FA8EE1-9134-4261-9C3B-EE800857B6B7}" dt="2020-06-16T15:25:36.554" v="1050" actId="12084"/>
          <ac:graphicFrameMkLst>
            <pc:docMk/>
            <pc:sldMk cId="3219276577" sldId="300"/>
            <ac:graphicFrameMk id="7" creationId="{0BD702E3-8617-497B-BC11-6E7BABE6DA23}"/>
          </ac:graphicFrameMkLst>
        </pc:graphicFrameChg>
      </pc:sldChg>
      <pc:sldChg chg="addSp delSp modSp mod ord">
        <pc:chgData name="Filipe Moreira" userId="fa9bf1d2-47eb-439d-b2f4-ca03a48a6bbf" providerId="ADAL" clId="{00FA8EE1-9134-4261-9C3B-EE800857B6B7}" dt="2020-06-16T14:41:49.714" v="777"/>
        <pc:sldMkLst>
          <pc:docMk/>
          <pc:sldMk cId="506177482" sldId="301"/>
        </pc:sldMkLst>
        <pc:spChg chg="del">
          <ac:chgData name="Filipe Moreira" userId="fa9bf1d2-47eb-439d-b2f4-ca03a48a6bbf" providerId="ADAL" clId="{00FA8EE1-9134-4261-9C3B-EE800857B6B7}" dt="2020-06-16T12:35:24.746" v="603" actId="478"/>
          <ac:spMkLst>
            <pc:docMk/>
            <pc:sldMk cId="506177482" sldId="301"/>
            <ac:spMk id="2" creationId="{00000000-0000-0000-0000-000000000000}"/>
          </ac:spMkLst>
        </pc:spChg>
        <pc:spChg chg="del mod">
          <ac:chgData name="Filipe Moreira" userId="fa9bf1d2-47eb-439d-b2f4-ca03a48a6bbf" providerId="ADAL" clId="{00FA8EE1-9134-4261-9C3B-EE800857B6B7}" dt="2020-06-16T12:35:19.398" v="601" actId="478"/>
          <ac:spMkLst>
            <pc:docMk/>
            <pc:sldMk cId="506177482" sldId="301"/>
            <ac:spMk id="3" creationId="{00000000-0000-0000-0000-000000000000}"/>
          </ac:spMkLst>
        </pc:spChg>
        <pc:spChg chg="mod">
          <ac:chgData name="Filipe Moreira" userId="fa9bf1d2-47eb-439d-b2f4-ca03a48a6bbf" providerId="ADAL" clId="{00FA8EE1-9134-4261-9C3B-EE800857B6B7}" dt="2020-06-16T12:33:23.855" v="507" actId="207"/>
          <ac:spMkLst>
            <pc:docMk/>
            <pc:sldMk cId="506177482" sldId="301"/>
            <ac:spMk id="4" creationId="{00000000-0000-0000-0000-000000000000}"/>
          </ac:spMkLst>
        </pc:spChg>
        <pc:spChg chg="del mod">
          <ac:chgData name="Filipe Moreira" userId="fa9bf1d2-47eb-439d-b2f4-ca03a48a6bbf" providerId="ADAL" clId="{00FA8EE1-9134-4261-9C3B-EE800857B6B7}" dt="2020-06-16T12:34:20.883" v="526" actId="12084"/>
          <ac:spMkLst>
            <pc:docMk/>
            <pc:sldMk cId="506177482" sldId="301"/>
            <ac:spMk id="5" creationId="{00000000-0000-0000-0000-000000000000}"/>
          </ac:spMkLst>
        </pc:spChg>
        <pc:spChg chg="del mod">
          <ac:chgData name="Filipe Moreira" userId="fa9bf1d2-47eb-439d-b2f4-ca03a48a6bbf" providerId="ADAL" clId="{00FA8EE1-9134-4261-9C3B-EE800857B6B7}" dt="2020-06-16T12:35:21.931" v="602" actId="478"/>
          <ac:spMkLst>
            <pc:docMk/>
            <pc:sldMk cId="506177482" sldId="301"/>
            <ac:spMk id="6" creationId="{00000000-0000-0000-0000-000000000000}"/>
          </ac:spMkLst>
        </pc:spChg>
        <pc:spChg chg="add del mod">
          <ac:chgData name="Filipe Moreira" userId="fa9bf1d2-47eb-439d-b2f4-ca03a48a6bbf" providerId="ADAL" clId="{00FA8EE1-9134-4261-9C3B-EE800857B6B7}" dt="2020-06-16T12:35:26.484" v="604" actId="478"/>
          <ac:spMkLst>
            <pc:docMk/>
            <pc:sldMk cId="506177482" sldId="301"/>
            <ac:spMk id="10" creationId="{456E6CC7-EF1D-49F0-9728-54A2184585F6}"/>
          </ac:spMkLst>
        </pc:spChg>
        <pc:graphicFrameChg chg="add del mod modGraphic">
          <ac:chgData name="Filipe Moreira" userId="fa9bf1d2-47eb-439d-b2f4-ca03a48a6bbf" providerId="ADAL" clId="{00FA8EE1-9134-4261-9C3B-EE800857B6B7}" dt="2020-06-16T12:34:05.933" v="525" actId="478"/>
          <ac:graphicFrameMkLst>
            <pc:docMk/>
            <pc:sldMk cId="506177482" sldId="301"/>
            <ac:graphicFrameMk id="7" creationId="{65C64656-99BE-4F59-8F1D-E2F4CDF15372}"/>
          </ac:graphicFrameMkLst>
        </pc:graphicFrameChg>
        <pc:graphicFrameChg chg="add mod">
          <ac:chgData name="Filipe Moreira" userId="fa9bf1d2-47eb-439d-b2f4-ca03a48a6bbf" providerId="ADAL" clId="{00FA8EE1-9134-4261-9C3B-EE800857B6B7}" dt="2020-06-16T12:35:36.876" v="607" actId="14100"/>
          <ac:graphicFrameMkLst>
            <pc:docMk/>
            <pc:sldMk cId="506177482" sldId="301"/>
            <ac:graphicFrameMk id="8" creationId="{E73468F7-8446-4EFD-82A5-D3F73F4B6794}"/>
          </ac:graphicFrameMkLst>
        </pc:graphicFrameChg>
      </pc:sldChg>
      <pc:sldChg chg="modSp ord">
        <pc:chgData name="Filipe Moreira" userId="fa9bf1d2-47eb-439d-b2f4-ca03a48a6bbf" providerId="ADAL" clId="{00FA8EE1-9134-4261-9C3B-EE800857B6B7}" dt="2020-06-16T12:38:00.577" v="636" actId="207"/>
        <pc:sldMkLst>
          <pc:docMk/>
          <pc:sldMk cId="4020798319" sldId="302"/>
        </pc:sldMkLst>
        <pc:spChg chg="mod">
          <ac:chgData name="Filipe Moreira" userId="fa9bf1d2-47eb-439d-b2f4-ca03a48a6bbf" providerId="ADAL" clId="{00FA8EE1-9134-4261-9C3B-EE800857B6B7}" dt="2020-06-16T12:38:00.577" v="636" actId="207"/>
          <ac:spMkLst>
            <pc:docMk/>
            <pc:sldMk cId="4020798319" sldId="302"/>
            <ac:spMk id="2" creationId="{00000000-0000-0000-0000-000000000000}"/>
          </ac:spMkLst>
        </pc:spChg>
      </pc:sldChg>
      <pc:sldChg chg="addSp delSp modSp mod">
        <pc:chgData name="Filipe Moreira" userId="fa9bf1d2-47eb-439d-b2f4-ca03a48a6bbf" providerId="ADAL" clId="{00FA8EE1-9134-4261-9C3B-EE800857B6B7}" dt="2020-06-16T14:10:22.075" v="757" actId="478"/>
        <pc:sldMkLst>
          <pc:docMk/>
          <pc:sldMk cId="357505054" sldId="303"/>
        </pc:sldMkLst>
        <pc:spChg chg="mod">
          <ac:chgData name="Filipe Moreira" userId="fa9bf1d2-47eb-439d-b2f4-ca03a48a6bbf" providerId="ADAL" clId="{00FA8EE1-9134-4261-9C3B-EE800857B6B7}" dt="2020-06-16T12:07:29.667" v="255"/>
          <ac:spMkLst>
            <pc:docMk/>
            <pc:sldMk cId="357505054" sldId="303"/>
            <ac:spMk id="2" creationId="{00000000-0000-0000-0000-000000000000}"/>
          </ac:spMkLst>
        </pc:spChg>
        <pc:spChg chg="del mod">
          <ac:chgData name="Filipe Moreira" userId="fa9bf1d2-47eb-439d-b2f4-ca03a48a6bbf" providerId="ADAL" clId="{00FA8EE1-9134-4261-9C3B-EE800857B6B7}" dt="2020-06-16T14:10:11.536" v="754" actId="478"/>
          <ac:spMkLst>
            <pc:docMk/>
            <pc:sldMk cId="357505054" sldId="303"/>
            <ac:spMk id="5" creationId="{00000000-0000-0000-0000-000000000000}"/>
          </ac:spMkLst>
        </pc:spChg>
        <pc:spChg chg="del mod">
          <ac:chgData name="Filipe Moreira" userId="fa9bf1d2-47eb-439d-b2f4-ca03a48a6bbf" providerId="ADAL" clId="{00FA8EE1-9134-4261-9C3B-EE800857B6B7}" dt="2020-06-16T14:10:18.793" v="756" actId="478"/>
          <ac:spMkLst>
            <pc:docMk/>
            <pc:sldMk cId="357505054" sldId="303"/>
            <ac:spMk id="6" creationId="{00000000-0000-0000-0000-000000000000}"/>
          </ac:spMkLst>
        </pc:spChg>
        <pc:spChg chg="add del mod">
          <ac:chgData name="Filipe Moreira" userId="fa9bf1d2-47eb-439d-b2f4-ca03a48a6bbf" providerId="ADAL" clId="{00FA8EE1-9134-4261-9C3B-EE800857B6B7}" dt="2020-06-16T14:10:16.781" v="755" actId="478"/>
          <ac:spMkLst>
            <pc:docMk/>
            <pc:sldMk cId="357505054" sldId="303"/>
            <ac:spMk id="8" creationId="{55E3E979-F653-4E3C-991D-7061B5EC138B}"/>
          </ac:spMkLst>
        </pc:spChg>
        <pc:spChg chg="add del mod">
          <ac:chgData name="Filipe Moreira" userId="fa9bf1d2-47eb-439d-b2f4-ca03a48a6bbf" providerId="ADAL" clId="{00FA8EE1-9134-4261-9C3B-EE800857B6B7}" dt="2020-06-16T14:10:22.075" v="757" actId="478"/>
          <ac:spMkLst>
            <pc:docMk/>
            <pc:sldMk cId="357505054" sldId="303"/>
            <ac:spMk id="10" creationId="{7BEFEA77-A9DC-4184-B9CE-2A1ACF232A71}"/>
          </ac:spMkLst>
        </pc:spChg>
      </pc:sldChg>
      <pc:sldChg chg="addSp delSp modSp ord">
        <pc:chgData name="Filipe Moreira" userId="fa9bf1d2-47eb-439d-b2f4-ca03a48a6bbf" providerId="ADAL" clId="{00FA8EE1-9134-4261-9C3B-EE800857B6B7}" dt="2020-06-16T14:09:34.717" v="753" actId="14100"/>
        <pc:sldMkLst>
          <pc:docMk/>
          <pc:sldMk cId="2835036643" sldId="304"/>
        </pc:sldMkLst>
        <pc:spChg chg="mod">
          <ac:chgData name="Filipe Moreira" userId="fa9bf1d2-47eb-439d-b2f4-ca03a48a6bbf" providerId="ADAL" clId="{00FA8EE1-9134-4261-9C3B-EE800857B6B7}" dt="2020-06-16T13:26:04.744" v="749" actId="207"/>
          <ac:spMkLst>
            <pc:docMk/>
            <pc:sldMk cId="2835036643" sldId="304"/>
            <ac:spMk id="2" creationId="{00000000-0000-0000-0000-000000000000}"/>
          </ac:spMkLst>
        </pc:spChg>
        <pc:spChg chg="del">
          <ac:chgData name="Filipe Moreira" userId="fa9bf1d2-47eb-439d-b2f4-ca03a48a6bbf" providerId="ADAL" clId="{00FA8EE1-9134-4261-9C3B-EE800857B6B7}" dt="2020-06-16T14:09:21.113" v="750" actId="12084"/>
          <ac:spMkLst>
            <pc:docMk/>
            <pc:sldMk cId="2835036643" sldId="304"/>
            <ac:spMk id="7" creationId="{00000000-0000-0000-0000-000000000000}"/>
          </ac:spMkLst>
        </pc:spChg>
        <pc:graphicFrameChg chg="add mod">
          <ac:chgData name="Filipe Moreira" userId="fa9bf1d2-47eb-439d-b2f4-ca03a48a6bbf" providerId="ADAL" clId="{00FA8EE1-9134-4261-9C3B-EE800857B6B7}" dt="2020-06-16T14:09:34.717" v="753" actId="14100"/>
          <ac:graphicFrameMkLst>
            <pc:docMk/>
            <pc:sldMk cId="2835036643" sldId="304"/>
            <ac:graphicFrameMk id="3" creationId="{E6EFF897-434D-40FC-B271-25C2FB52877C}"/>
          </ac:graphicFrameMkLst>
        </pc:graphicFrameChg>
      </pc:sldChg>
      <pc:sldChg chg="addSp delSp modSp mod">
        <pc:chgData name="Filipe Moreira" userId="fa9bf1d2-47eb-439d-b2f4-ca03a48a6bbf" providerId="ADAL" clId="{00FA8EE1-9134-4261-9C3B-EE800857B6B7}" dt="2020-06-16T15:31:23.584" v="1079" actId="207"/>
        <pc:sldMkLst>
          <pc:docMk/>
          <pc:sldMk cId="2273931650" sldId="305"/>
        </pc:sldMkLst>
        <pc:spChg chg="mod">
          <ac:chgData name="Filipe Moreira" userId="fa9bf1d2-47eb-439d-b2f4-ca03a48a6bbf" providerId="ADAL" clId="{00FA8EE1-9134-4261-9C3B-EE800857B6B7}" dt="2020-06-16T15:31:11.415" v="1077" actId="207"/>
          <ac:spMkLst>
            <pc:docMk/>
            <pc:sldMk cId="2273931650" sldId="305"/>
            <ac:spMk id="2" creationId="{00000000-0000-0000-0000-000000000000}"/>
          </ac:spMkLst>
        </pc:spChg>
        <pc:spChg chg="del mod">
          <ac:chgData name="Filipe Moreira" userId="fa9bf1d2-47eb-439d-b2f4-ca03a48a6bbf" providerId="ADAL" clId="{00FA8EE1-9134-4261-9C3B-EE800857B6B7}" dt="2020-06-16T15:28:58.930" v="1064" actId="12084"/>
          <ac:spMkLst>
            <pc:docMk/>
            <pc:sldMk cId="2273931650" sldId="305"/>
            <ac:spMk id="3" creationId="{00000000-0000-0000-0000-000000000000}"/>
          </ac:spMkLst>
        </pc:spChg>
        <pc:spChg chg="add mod">
          <ac:chgData name="Filipe Moreira" userId="fa9bf1d2-47eb-439d-b2f4-ca03a48a6bbf" providerId="ADAL" clId="{00FA8EE1-9134-4261-9C3B-EE800857B6B7}" dt="2020-06-16T15:29:23.958" v="1067" actId="1076"/>
          <ac:spMkLst>
            <pc:docMk/>
            <pc:sldMk cId="2273931650" sldId="305"/>
            <ac:spMk id="4" creationId="{BC32DEFB-0B18-4715-941C-4EECE900B9DF}"/>
          </ac:spMkLst>
        </pc:spChg>
        <pc:graphicFrameChg chg="add mod">
          <ac:chgData name="Filipe Moreira" userId="fa9bf1d2-47eb-439d-b2f4-ca03a48a6bbf" providerId="ADAL" clId="{00FA8EE1-9134-4261-9C3B-EE800857B6B7}" dt="2020-06-16T15:31:23.584" v="1079" actId="207"/>
          <ac:graphicFrameMkLst>
            <pc:docMk/>
            <pc:sldMk cId="2273931650" sldId="305"/>
            <ac:graphicFrameMk id="5" creationId="{32B726B2-5978-440D-95C1-DCD5473D3EC4}"/>
          </ac:graphicFrameMkLst>
        </pc:graphicFrameChg>
      </pc:sldChg>
      <pc:sldChg chg="addSp delSp modSp mod">
        <pc:chgData name="Filipe Moreira" userId="fa9bf1d2-47eb-439d-b2f4-ca03a48a6bbf" providerId="ADAL" clId="{00FA8EE1-9134-4261-9C3B-EE800857B6B7}" dt="2020-06-16T15:31:15.560" v="1078" actId="207"/>
        <pc:sldMkLst>
          <pc:docMk/>
          <pc:sldMk cId="2572464404" sldId="306"/>
        </pc:sldMkLst>
        <pc:spChg chg="mod">
          <ac:chgData name="Filipe Moreira" userId="fa9bf1d2-47eb-439d-b2f4-ca03a48a6bbf" providerId="ADAL" clId="{00FA8EE1-9134-4261-9C3B-EE800857B6B7}" dt="2020-06-16T15:31:15.560" v="1078" actId="207"/>
          <ac:spMkLst>
            <pc:docMk/>
            <pc:sldMk cId="2572464404" sldId="306"/>
            <ac:spMk id="2" creationId="{00000000-0000-0000-0000-000000000000}"/>
          </ac:spMkLst>
        </pc:spChg>
        <pc:spChg chg="del mod">
          <ac:chgData name="Filipe Moreira" userId="fa9bf1d2-47eb-439d-b2f4-ca03a48a6bbf" providerId="ADAL" clId="{00FA8EE1-9134-4261-9C3B-EE800857B6B7}" dt="2020-06-16T15:30:01.453" v="1070" actId="12084"/>
          <ac:spMkLst>
            <pc:docMk/>
            <pc:sldMk cId="2572464404" sldId="306"/>
            <ac:spMk id="3" creationId="{00000000-0000-0000-0000-000000000000}"/>
          </ac:spMkLst>
        </pc:spChg>
        <pc:spChg chg="add mod">
          <ac:chgData name="Filipe Moreira" userId="fa9bf1d2-47eb-439d-b2f4-ca03a48a6bbf" providerId="ADAL" clId="{00FA8EE1-9134-4261-9C3B-EE800857B6B7}" dt="2020-06-16T15:30:11.344" v="1073" actId="1076"/>
          <ac:spMkLst>
            <pc:docMk/>
            <pc:sldMk cId="2572464404" sldId="306"/>
            <ac:spMk id="5" creationId="{4C557205-16B4-4364-95E6-F19C7690AA68}"/>
          </ac:spMkLst>
        </pc:spChg>
        <pc:graphicFrameChg chg="add mod">
          <ac:chgData name="Filipe Moreira" userId="fa9bf1d2-47eb-439d-b2f4-ca03a48a6bbf" providerId="ADAL" clId="{00FA8EE1-9134-4261-9C3B-EE800857B6B7}" dt="2020-06-16T15:30:05.463" v="1071" actId="14100"/>
          <ac:graphicFrameMkLst>
            <pc:docMk/>
            <pc:sldMk cId="2572464404" sldId="306"/>
            <ac:graphicFrameMk id="4" creationId="{A88F79DB-D372-4F48-A523-5F9BB5850D3F}"/>
          </ac:graphicFrameMkLst>
        </pc:graphicFrameChg>
      </pc:sldChg>
      <pc:sldChg chg="addSp delSp modSp mod ord">
        <pc:chgData name="Filipe Moreira" userId="fa9bf1d2-47eb-439d-b2f4-ca03a48a6bbf" providerId="ADAL" clId="{00FA8EE1-9134-4261-9C3B-EE800857B6B7}" dt="2020-06-16T15:26:02.053" v="1051" actId="207"/>
        <pc:sldMkLst>
          <pc:docMk/>
          <pc:sldMk cId="669815032" sldId="307"/>
        </pc:sldMkLst>
        <pc:spChg chg="mod">
          <ac:chgData name="Filipe Moreira" userId="fa9bf1d2-47eb-439d-b2f4-ca03a48a6bbf" providerId="ADAL" clId="{00FA8EE1-9134-4261-9C3B-EE800857B6B7}" dt="2020-06-16T15:26:02.053" v="1051" actId="207"/>
          <ac:spMkLst>
            <pc:docMk/>
            <pc:sldMk cId="669815032" sldId="307"/>
            <ac:spMk id="2" creationId="{00000000-0000-0000-0000-000000000000}"/>
          </ac:spMkLst>
        </pc:spChg>
        <pc:spChg chg="del mod">
          <ac:chgData name="Filipe Moreira" userId="fa9bf1d2-47eb-439d-b2f4-ca03a48a6bbf" providerId="ADAL" clId="{00FA8EE1-9134-4261-9C3B-EE800857B6B7}" dt="2020-06-16T14:13:54.172" v="767" actId="12084"/>
          <ac:spMkLst>
            <pc:docMk/>
            <pc:sldMk cId="669815032" sldId="307"/>
            <ac:spMk id="3" creationId="{00000000-0000-0000-0000-000000000000}"/>
          </ac:spMkLst>
        </pc:spChg>
        <pc:graphicFrameChg chg="add mod">
          <ac:chgData name="Filipe Moreira" userId="fa9bf1d2-47eb-439d-b2f4-ca03a48a6bbf" providerId="ADAL" clId="{00FA8EE1-9134-4261-9C3B-EE800857B6B7}" dt="2020-06-16T14:14:21.724" v="769"/>
          <ac:graphicFrameMkLst>
            <pc:docMk/>
            <pc:sldMk cId="669815032" sldId="307"/>
            <ac:graphicFrameMk id="4" creationId="{A37891F2-25F9-4F88-84FB-5163D11423A3}"/>
          </ac:graphicFrameMkLst>
        </pc:graphicFrameChg>
      </pc:sldChg>
      <pc:sldChg chg="addSp delSp modSp mod ord">
        <pc:chgData name="Filipe Moreira" userId="fa9bf1d2-47eb-439d-b2f4-ca03a48a6bbf" providerId="ADAL" clId="{00FA8EE1-9134-4261-9C3B-EE800857B6B7}" dt="2020-06-16T14:13:28.217" v="764" actId="12084"/>
        <pc:sldMkLst>
          <pc:docMk/>
          <pc:sldMk cId="517656174" sldId="308"/>
        </pc:sldMkLst>
        <pc:spChg chg="mod">
          <ac:chgData name="Filipe Moreira" userId="fa9bf1d2-47eb-439d-b2f4-ca03a48a6bbf" providerId="ADAL" clId="{00FA8EE1-9134-4261-9C3B-EE800857B6B7}" dt="2020-06-16T14:12:54.396" v="759" actId="207"/>
          <ac:spMkLst>
            <pc:docMk/>
            <pc:sldMk cId="517656174" sldId="308"/>
            <ac:spMk id="2" creationId="{00000000-0000-0000-0000-000000000000}"/>
          </ac:spMkLst>
        </pc:spChg>
        <pc:spChg chg="del mod">
          <ac:chgData name="Filipe Moreira" userId="fa9bf1d2-47eb-439d-b2f4-ca03a48a6bbf" providerId="ADAL" clId="{00FA8EE1-9134-4261-9C3B-EE800857B6B7}" dt="2020-06-16T14:13:28.217" v="764" actId="12084"/>
          <ac:spMkLst>
            <pc:docMk/>
            <pc:sldMk cId="517656174" sldId="308"/>
            <ac:spMk id="3" creationId="{00000000-0000-0000-0000-000000000000}"/>
          </ac:spMkLst>
        </pc:spChg>
        <pc:graphicFrameChg chg="add mod">
          <ac:chgData name="Filipe Moreira" userId="fa9bf1d2-47eb-439d-b2f4-ca03a48a6bbf" providerId="ADAL" clId="{00FA8EE1-9134-4261-9C3B-EE800857B6B7}" dt="2020-06-16T14:13:28.217" v="764" actId="12084"/>
          <ac:graphicFrameMkLst>
            <pc:docMk/>
            <pc:sldMk cId="517656174" sldId="308"/>
            <ac:graphicFrameMk id="4" creationId="{D71CDBBB-5527-4062-91CC-ECDD416D968C}"/>
          </ac:graphicFrameMkLst>
        </pc:graphicFrameChg>
      </pc:sldChg>
      <pc:sldChg chg="addSp delSp modSp ord">
        <pc:chgData name="Filipe Moreira" userId="fa9bf1d2-47eb-439d-b2f4-ca03a48a6bbf" providerId="ADAL" clId="{00FA8EE1-9134-4261-9C3B-EE800857B6B7}" dt="2020-06-16T12:39:54.110" v="639" actId="13782"/>
        <pc:sldMkLst>
          <pc:docMk/>
          <pc:sldMk cId="793582559" sldId="309"/>
        </pc:sldMkLst>
        <pc:spChg chg="mod">
          <ac:chgData name="Filipe Moreira" userId="fa9bf1d2-47eb-439d-b2f4-ca03a48a6bbf" providerId="ADAL" clId="{00FA8EE1-9134-4261-9C3B-EE800857B6B7}" dt="2020-06-16T12:38:06.189" v="637" actId="207"/>
          <ac:spMkLst>
            <pc:docMk/>
            <pc:sldMk cId="793582559" sldId="309"/>
            <ac:spMk id="2" creationId="{00000000-0000-0000-0000-000000000000}"/>
          </ac:spMkLst>
        </pc:spChg>
        <pc:spChg chg="del">
          <ac:chgData name="Filipe Moreira" userId="fa9bf1d2-47eb-439d-b2f4-ca03a48a6bbf" providerId="ADAL" clId="{00FA8EE1-9134-4261-9C3B-EE800857B6B7}" dt="2020-06-16T12:38:55.545" v="638" actId="12084"/>
          <ac:spMkLst>
            <pc:docMk/>
            <pc:sldMk cId="793582559" sldId="309"/>
            <ac:spMk id="3" creationId="{00000000-0000-0000-0000-000000000000}"/>
          </ac:spMkLst>
        </pc:spChg>
        <pc:graphicFrameChg chg="add mod">
          <ac:chgData name="Filipe Moreira" userId="fa9bf1d2-47eb-439d-b2f4-ca03a48a6bbf" providerId="ADAL" clId="{00FA8EE1-9134-4261-9C3B-EE800857B6B7}" dt="2020-06-16T12:39:54.110" v="639" actId="13782"/>
          <ac:graphicFrameMkLst>
            <pc:docMk/>
            <pc:sldMk cId="793582559" sldId="309"/>
            <ac:graphicFrameMk id="4" creationId="{D90E7D00-3C1A-4256-B521-71AA04D0794C}"/>
          </ac:graphicFrameMkLst>
        </pc:graphicFrameChg>
      </pc:sldChg>
      <pc:sldChg chg="addSp delSp modSp mod ord">
        <pc:chgData name="Filipe Moreira" userId="fa9bf1d2-47eb-439d-b2f4-ca03a48a6bbf" providerId="ADAL" clId="{00FA8EE1-9134-4261-9C3B-EE800857B6B7}" dt="2020-06-16T12:41:54.892" v="645" actId="13782"/>
        <pc:sldMkLst>
          <pc:docMk/>
          <pc:sldMk cId="2570979657" sldId="310"/>
        </pc:sldMkLst>
        <pc:spChg chg="mod">
          <ac:chgData name="Filipe Moreira" userId="fa9bf1d2-47eb-439d-b2f4-ca03a48a6bbf" providerId="ADAL" clId="{00FA8EE1-9134-4261-9C3B-EE800857B6B7}" dt="2020-06-16T12:41:21.438" v="644" actId="207"/>
          <ac:spMkLst>
            <pc:docMk/>
            <pc:sldMk cId="2570979657" sldId="310"/>
            <ac:spMk id="2" creationId="{00000000-0000-0000-0000-000000000000}"/>
          </ac:spMkLst>
        </pc:spChg>
        <pc:spChg chg="del mod">
          <ac:chgData name="Filipe Moreira" userId="fa9bf1d2-47eb-439d-b2f4-ca03a48a6bbf" providerId="ADAL" clId="{00FA8EE1-9134-4261-9C3B-EE800857B6B7}" dt="2020-06-16T12:40:59.267" v="641" actId="12084"/>
          <ac:spMkLst>
            <pc:docMk/>
            <pc:sldMk cId="2570979657" sldId="310"/>
            <ac:spMk id="3" creationId="{00000000-0000-0000-0000-000000000000}"/>
          </ac:spMkLst>
        </pc:spChg>
        <pc:graphicFrameChg chg="add mod">
          <ac:chgData name="Filipe Moreira" userId="fa9bf1d2-47eb-439d-b2f4-ca03a48a6bbf" providerId="ADAL" clId="{00FA8EE1-9134-4261-9C3B-EE800857B6B7}" dt="2020-06-16T12:41:54.892" v="645" actId="13782"/>
          <ac:graphicFrameMkLst>
            <pc:docMk/>
            <pc:sldMk cId="2570979657" sldId="310"/>
            <ac:graphicFrameMk id="4" creationId="{06CDBE5A-89C8-4044-85AE-6CF81C09CF12}"/>
          </ac:graphicFrameMkLst>
        </pc:graphicFrameChg>
      </pc:sldChg>
      <pc:sldChg chg="addSp delSp modSp mod ord">
        <pc:chgData name="Filipe Moreira" userId="fa9bf1d2-47eb-439d-b2f4-ca03a48a6bbf" providerId="ADAL" clId="{00FA8EE1-9134-4261-9C3B-EE800857B6B7}" dt="2020-06-16T12:44:49.719" v="743" actId="207"/>
        <pc:sldMkLst>
          <pc:docMk/>
          <pc:sldMk cId="2355980626" sldId="311"/>
        </pc:sldMkLst>
        <pc:spChg chg="mod">
          <ac:chgData name="Filipe Moreira" userId="fa9bf1d2-47eb-439d-b2f4-ca03a48a6bbf" providerId="ADAL" clId="{00FA8EE1-9134-4261-9C3B-EE800857B6B7}" dt="2020-06-16T12:44:49.719" v="743" actId="207"/>
          <ac:spMkLst>
            <pc:docMk/>
            <pc:sldMk cId="2355980626" sldId="311"/>
            <ac:spMk id="2" creationId="{00000000-0000-0000-0000-000000000000}"/>
          </ac:spMkLst>
        </pc:spChg>
        <pc:spChg chg="add del mod">
          <ac:chgData name="Filipe Moreira" userId="fa9bf1d2-47eb-439d-b2f4-ca03a48a6bbf" providerId="ADAL" clId="{00FA8EE1-9134-4261-9C3B-EE800857B6B7}" dt="2020-06-16T12:44:36.415" v="741" actId="478"/>
          <ac:spMkLst>
            <pc:docMk/>
            <pc:sldMk cId="2355980626" sldId="311"/>
            <ac:spMk id="5" creationId="{569283D4-D68D-4990-A160-925CDAC6204A}"/>
          </ac:spMkLst>
        </pc:spChg>
        <pc:spChg chg="del mod">
          <ac:chgData name="Filipe Moreira" userId="fa9bf1d2-47eb-439d-b2f4-ca03a48a6bbf" providerId="ADAL" clId="{00FA8EE1-9134-4261-9C3B-EE800857B6B7}" dt="2020-06-16T12:42:50.023" v="648" actId="12084"/>
          <ac:spMkLst>
            <pc:docMk/>
            <pc:sldMk cId="2355980626" sldId="311"/>
            <ac:spMk id="7" creationId="{00000000-0000-0000-0000-000000000000}"/>
          </ac:spMkLst>
        </pc:spChg>
        <pc:spChg chg="del">
          <ac:chgData name="Filipe Moreira" userId="fa9bf1d2-47eb-439d-b2f4-ca03a48a6bbf" providerId="ADAL" clId="{00FA8EE1-9134-4261-9C3B-EE800857B6B7}" dt="2020-06-16T12:44:33.633" v="740" actId="478"/>
          <ac:spMkLst>
            <pc:docMk/>
            <pc:sldMk cId="2355980626" sldId="311"/>
            <ac:spMk id="8" creationId="{00000000-0000-0000-0000-000000000000}"/>
          </ac:spMkLst>
        </pc:spChg>
        <pc:spChg chg="del mod">
          <ac:chgData name="Filipe Moreira" userId="fa9bf1d2-47eb-439d-b2f4-ca03a48a6bbf" providerId="ADAL" clId="{00FA8EE1-9134-4261-9C3B-EE800857B6B7}" dt="2020-06-16T12:44:31.373" v="739" actId="478"/>
          <ac:spMkLst>
            <pc:docMk/>
            <pc:sldMk cId="2355980626" sldId="311"/>
            <ac:spMk id="9" creationId="{00000000-0000-0000-0000-000000000000}"/>
          </ac:spMkLst>
        </pc:spChg>
        <pc:spChg chg="del mod">
          <ac:chgData name="Filipe Moreira" userId="fa9bf1d2-47eb-439d-b2f4-ca03a48a6bbf" providerId="ADAL" clId="{00FA8EE1-9134-4261-9C3B-EE800857B6B7}" dt="2020-06-16T12:44:29.191" v="738" actId="478"/>
          <ac:spMkLst>
            <pc:docMk/>
            <pc:sldMk cId="2355980626" sldId="311"/>
            <ac:spMk id="10" creationId="{00000000-0000-0000-0000-000000000000}"/>
          </ac:spMkLst>
        </pc:spChg>
        <pc:graphicFrameChg chg="add mod">
          <ac:chgData name="Filipe Moreira" userId="fa9bf1d2-47eb-439d-b2f4-ca03a48a6bbf" providerId="ADAL" clId="{00FA8EE1-9134-4261-9C3B-EE800857B6B7}" dt="2020-06-16T12:44:42.504" v="742" actId="14100"/>
          <ac:graphicFrameMkLst>
            <pc:docMk/>
            <pc:sldMk cId="2355980626" sldId="311"/>
            <ac:graphicFrameMk id="3" creationId="{58FF0347-43CA-4841-8F6E-605F1CBADBCB}"/>
          </ac:graphicFrameMkLst>
        </pc:graphicFrameChg>
      </pc:sldChg>
      <pc:sldChg chg="addSp delSp modSp mod ord modNotesTx">
        <pc:chgData name="Filipe Moreira" userId="fa9bf1d2-47eb-439d-b2f4-ca03a48a6bbf" providerId="ADAL" clId="{00FA8EE1-9134-4261-9C3B-EE800857B6B7}" dt="2020-06-16T15:23:14.132" v="1044" actId="20577"/>
        <pc:sldMkLst>
          <pc:docMk/>
          <pc:sldMk cId="1654109084" sldId="312"/>
        </pc:sldMkLst>
        <pc:spChg chg="mod">
          <ac:chgData name="Filipe Moreira" userId="fa9bf1d2-47eb-439d-b2f4-ca03a48a6bbf" providerId="ADAL" clId="{00FA8EE1-9134-4261-9C3B-EE800857B6B7}" dt="2020-06-16T15:21:25.122" v="1039" actId="207"/>
          <ac:spMkLst>
            <pc:docMk/>
            <pc:sldMk cId="1654109084" sldId="312"/>
            <ac:spMk id="2" creationId="{00000000-0000-0000-0000-000000000000}"/>
          </ac:spMkLst>
        </pc:spChg>
        <pc:spChg chg="mod">
          <ac:chgData name="Filipe Moreira" userId="fa9bf1d2-47eb-439d-b2f4-ca03a48a6bbf" providerId="ADAL" clId="{00FA8EE1-9134-4261-9C3B-EE800857B6B7}" dt="2020-06-16T15:22:26.782" v="1041" actId="14100"/>
          <ac:spMkLst>
            <pc:docMk/>
            <pc:sldMk cId="1654109084" sldId="312"/>
            <ac:spMk id="3" creationId="{00000000-0000-0000-0000-000000000000}"/>
          </ac:spMkLst>
        </pc:spChg>
        <pc:spChg chg="del mod">
          <ac:chgData name="Filipe Moreira" userId="fa9bf1d2-47eb-439d-b2f4-ca03a48a6bbf" providerId="ADAL" clId="{00FA8EE1-9134-4261-9C3B-EE800857B6B7}" dt="2020-06-16T15:21:55.719" v="1040" actId="12084"/>
          <ac:spMkLst>
            <pc:docMk/>
            <pc:sldMk cId="1654109084" sldId="312"/>
            <ac:spMk id="4" creationId="{00000000-0000-0000-0000-000000000000}"/>
          </ac:spMkLst>
        </pc:spChg>
        <pc:spChg chg="mod">
          <ac:chgData name="Filipe Moreira" userId="fa9bf1d2-47eb-439d-b2f4-ca03a48a6bbf" providerId="ADAL" clId="{00FA8EE1-9134-4261-9C3B-EE800857B6B7}" dt="2020-06-16T15:22:32.705" v="1042" actId="1076"/>
          <ac:spMkLst>
            <pc:docMk/>
            <pc:sldMk cId="1654109084" sldId="312"/>
            <ac:spMk id="5" creationId="{00000000-0000-0000-0000-000000000000}"/>
          </ac:spMkLst>
        </pc:spChg>
        <pc:spChg chg="del mod">
          <ac:chgData name="Filipe Moreira" userId="fa9bf1d2-47eb-439d-b2f4-ca03a48a6bbf" providerId="ADAL" clId="{00FA8EE1-9134-4261-9C3B-EE800857B6B7}" dt="2020-06-16T15:20:39.771" v="1035" actId="478"/>
          <ac:spMkLst>
            <pc:docMk/>
            <pc:sldMk cId="1654109084" sldId="312"/>
            <ac:spMk id="6" creationId="{00000000-0000-0000-0000-000000000000}"/>
          </ac:spMkLst>
        </pc:spChg>
        <pc:spChg chg="del">
          <ac:chgData name="Filipe Moreira" userId="fa9bf1d2-47eb-439d-b2f4-ca03a48a6bbf" providerId="ADAL" clId="{00FA8EE1-9134-4261-9C3B-EE800857B6B7}" dt="2020-06-16T15:19:07.215" v="1032" actId="478"/>
          <ac:spMkLst>
            <pc:docMk/>
            <pc:sldMk cId="1654109084" sldId="312"/>
            <ac:spMk id="7" creationId="{00000000-0000-0000-0000-000000000000}"/>
          </ac:spMkLst>
        </pc:spChg>
        <pc:graphicFrameChg chg="add mod">
          <ac:chgData name="Filipe Moreira" userId="fa9bf1d2-47eb-439d-b2f4-ca03a48a6bbf" providerId="ADAL" clId="{00FA8EE1-9134-4261-9C3B-EE800857B6B7}" dt="2020-06-16T15:22:44.628" v="1043" actId="1076"/>
          <ac:graphicFrameMkLst>
            <pc:docMk/>
            <pc:sldMk cId="1654109084" sldId="312"/>
            <ac:graphicFrameMk id="8" creationId="{C37DB6B5-7A25-474F-BB2B-6DD8E08333BB}"/>
          </ac:graphicFrameMkLst>
        </pc:graphicFrameChg>
      </pc:sldChg>
      <pc:sldChg chg="addSp delSp modSp mod ord">
        <pc:chgData name="Filipe Moreira" userId="fa9bf1d2-47eb-439d-b2f4-ca03a48a6bbf" providerId="ADAL" clId="{00FA8EE1-9134-4261-9C3B-EE800857B6B7}" dt="2020-06-16T12:46:04.772" v="747" actId="14100"/>
        <pc:sldMkLst>
          <pc:docMk/>
          <pc:sldMk cId="4184016912" sldId="313"/>
        </pc:sldMkLst>
        <pc:spChg chg="mod">
          <ac:chgData name="Filipe Moreira" userId="fa9bf1d2-47eb-439d-b2f4-ca03a48a6bbf" providerId="ADAL" clId="{00FA8EE1-9134-4261-9C3B-EE800857B6B7}" dt="2020-06-16T12:07:29.667" v="255"/>
          <ac:spMkLst>
            <pc:docMk/>
            <pc:sldMk cId="4184016912" sldId="313"/>
            <ac:spMk id="7" creationId="{00000000-0000-0000-0000-000000000000}"/>
          </ac:spMkLst>
        </pc:spChg>
        <pc:spChg chg="del mod">
          <ac:chgData name="Filipe Moreira" userId="fa9bf1d2-47eb-439d-b2f4-ca03a48a6bbf" providerId="ADAL" clId="{00FA8EE1-9134-4261-9C3B-EE800857B6B7}" dt="2020-06-16T12:45:35.805" v="746" actId="12084"/>
          <ac:spMkLst>
            <pc:docMk/>
            <pc:sldMk cId="4184016912" sldId="313"/>
            <ac:spMk id="8" creationId="{00000000-0000-0000-0000-000000000000}"/>
          </ac:spMkLst>
        </pc:spChg>
        <pc:graphicFrameChg chg="add mod">
          <ac:chgData name="Filipe Moreira" userId="fa9bf1d2-47eb-439d-b2f4-ca03a48a6bbf" providerId="ADAL" clId="{00FA8EE1-9134-4261-9C3B-EE800857B6B7}" dt="2020-06-16T12:46:04.772" v="747" actId="14100"/>
          <ac:graphicFrameMkLst>
            <pc:docMk/>
            <pc:sldMk cId="4184016912" sldId="313"/>
            <ac:graphicFrameMk id="2" creationId="{5A8C117F-2222-4C9B-AB4B-5CCFC63D4BC9}"/>
          </ac:graphicFrameMkLst>
        </pc:graphicFrameChg>
      </pc:sldChg>
      <pc:sldChg chg="addSp delSp modSp mod ord">
        <pc:chgData name="Filipe Moreira" userId="fa9bf1d2-47eb-439d-b2f4-ca03a48a6bbf" providerId="ADAL" clId="{00FA8EE1-9134-4261-9C3B-EE800857B6B7}" dt="2020-06-16T15:26:58.872" v="1057" actId="12084"/>
        <pc:sldMkLst>
          <pc:docMk/>
          <pc:sldMk cId="2503025995" sldId="314"/>
        </pc:sldMkLst>
        <pc:spChg chg="mod">
          <ac:chgData name="Filipe Moreira" userId="fa9bf1d2-47eb-439d-b2f4-ca03a48a6bbf" providerId="ADAL" clId="{00FA8EE1-9134-4261-9C3B-EE800857B6B7}" dt="2020-06-16T15:26:26.351" v="1056" actId="207"/>
          <ac:spMkLst>
            <pc:docMk/>
            <pc:sldMk cId="2503025995" sldId="314"/>
            <ac:spMk id="2" creationId="{00000000-0000-0000-0000-000000000000}"/>
          </ac:spMkLst>
        </pc:spChg>
        <pc:spChg chg="del">
          <ac:chgData name="Filipe Moreira" userId="fa9bf1d2-47eb-439d-b2f4-ca03a48a6bbf" providerId="ADAL" clId="{00FA8EE1-9134-4261-9C3B-EE800857B6B7}" dt="2020-06-16T15:26:58.872" v="1057" actId="12084"/>
          <ac:spMkLst>
            <pc:docMk/>
            <pc:sldMk cId="2503025995" sldId="314"/>
            <ac:spMk id="3" creationId="{00000000-0000-0000-0000-000000000000}"/>
          </ac:spMkLst>
        </pc:spChg>
        <pc:spChg chg="mod">
          <ac:chgData name="Filipe Moreira" userId="fa9bf1d2-47eb-439d-b2f4-ca03a48a6bbf" providerId="ADAL" clId="{00FA8EE1-9134-4261-9C3B-EE800857B6B7}" dt="2020-06-16T15:26:19.672" v="1055" actId="14100"/>
          <ac:spMkLst>
            <pc:docMk/>
            <pc:sldMk cId="2503025995" sldId="314"/>
            <ac:spMk id="4" creationId="{00000000-0000-0000-0000-000000000000}"/>
          </ac:spMkLst>
        </pc:spChg>
        <pc:graphicFrameChg chg="add mod">
          <ac:chgData name="Filipe Moreira" userId="fa9bf1d2-47eb-439d-b2f4-ca03a48a6bbf" providerId="ADAL" clId="{00FA8EE1-9134-4261-9C3B-EE800857B6B7}" dt="2020-06-16T15:26:58.872" v="1057" actId="12084"/>
          <ac:graphicFrameMkLst>
            <pc:docMk/>
            <pc:sldMk cId="2503025995" sldId="314"/>
            <ac:graphicFrameMk id="5" creationId="{A2E8B829-1509-4172-8581-894F719B1C00}"/>
          </ac:graphicFrameMkLst>
        </pc:graphicFrameChg>
      </pc:sldChg>
      <pc:sldChg chg="addSp delSp modSp mod ord">
        <pc:chgData name="Filipe Moreira" userId="fa9bf1d2-47eb-439d-b2f4-ca03a48a6bbf" providerId="ADAL" clId="{00FA8EE1-9134-4261-9C3B-EE800857B6B7}" dt="2020-06-16T15:42:59.895" v="1146" actId="20577"/>
        <pc:sldMkLst>
          <pc:docMk/>
          <pc:sldMk cId="1520348436" sldId="315"/>
        </pc:sldMkLst>
        <pc:spChg chg="mod">
          <ac:chgData name="Filipe Moreira" userId="fa9bf1d2-47eb-439d-b2f4-ca03a48a6bbf" providerId="ADAL" clId="{00FA8EE1-9134-4261-9C3B-EE800857B6B7}" dt="2020-06-16T12:36:07.119" v="608" actId="207"/>
          <ac:spMkLst>
            <pc:docMk/>
            <pc:sldMk cId="1520348436" sldId="315"/>
            <ac:spMk id="2" creationId="{00000000-0000-0000-0000-000000000000}"/>
          </ac:spMkLst>
        </pc:spChg>
        <pc:spChg chg="del mod">
          <ac:chgData name="Filipe Moreira" userId="fa9bf1d2-47eb-439d-b2f4-ca03a48a6bbf" providerId="ADAL" clId="{00FA8EE1-9134-4261-9C3B-EE800857B6B7}" dt="2020-06-16T12:37:01.975" v="612" actId="12084"/>
          <ac:spMkLst>
            <pc:docMk/>
            <pc:sldMk cId="1520348436" sldId="315"/>
            <ac:spMk id="3" creationId="{00000000-0000-0000-0000-000000000000}"/>
          </ac:spMkLst>
        </pc:spChg>
        <pc:spChg chg="add del mod">
          <ac:chgData name="Filipe Moreira" userId="fa9bf1d2-47eb-439d-b2f4-ca03a48a6bbf" providerId="ADAL" clId="{00FA8EE1-9134-4261-9C3B-EE800857B6B7}" dt="2020-06-16T12:37:06.475" v="615"/>
          <ac:spMkLst>
            <pc:docMk/>
            <pc:sldMk cId="1520348436" sldId="315"/>
            <ac:spMk id="4" creationId="{29FA7672-D06E-45AA-97C5-D2D0CFEBC974}"/>
          </ac:spMkLst>
        </pc:spChg>
        <pc:graphicFrameChg chg="add mod">
          <ac:chgData name="Filipe Moreira" userId="fa9bf1d2-47eb-439d-b2f4-ca03a48a6bbf" providerId="ADAL" clId="{00FA8EE1-9134-4261-9C3B-EE800857B6B7}" dt="2020-06-16T15:42:59.895" v="1146" actId="20577"/>
          <ac:graphicFrameMkLst>
            <pc:docMk/>
            <pc:sldMk cId="1520348436" sldId="315"/>
            <ac:graphicFrameMk id="5" creationId="{4EA09C31-E918-4A05-BBD2-3C8FF5F3089C}"/>
          </ac:graphicFrameMkLst>
        </pc:graphicFrameChg>
      </pc:sldChg>
      <pc:sldChg chg="addSp delSp modSp add del mod ord modTransition">
        <pc:chgData name="Filipe Moreira" userId="fa9bf1d2-47eb-439d-b2f4-ca03a48a6bbf" providerId="ADAL" clId="{00FA8EE1-9134-4261-9C3B-EE800857B6B7}" dt="2020-06-16T14:53:29.287" v="804" actId="47"/>
        <pc:sldMkLst>
          <pc:docMk/>
          <pc:sldMk cId="1237600526" sldId="316"/>
        </pc:sldMkLst>
        <pc:spChg chg="mod">
          <ac:chgData name="Filipe Moreira" userId="fa9bf1d2-47eb-439d-b2f4-ca03a48a6bbf" providerId="ADAL" clId="{00FA8EE1-9134-4261-9C3B-EE800857B6B7}" dt="2020-06-16T12:07:29.667" v="255"/>
          <ac:spMkLst>
            <pc:docMk/>
            <pc:sldMk cId="1237600526" sldId="316"/>
            <ac:spMk id="2" creationId="{00000000-0000-0000-0000-000000000000}"/>
          </ac:spMkLst>
        </pc:spChg>
        <pc:spChg chg="del mod">
          <ac:chgData name="Filipe Moreira" userId="fa9bf1d2-47eb-439d-b2f4-ca03a48a6bbf" providerId="ADAL" clId="{00FA8EE1-9134-4261-9C3B-EE800857B6B7}" dt="2020-06-16T10:57:40.313" v="80" actId="12084"/>
          <ac:spMkLst>
            <pc:docMk/>
            <pc:sldMk cId="1237600526" sldId="316"/>
            <ac:spMk id="3" creationId="{00000000-0000-0000-0000-000000000000}"/>
          </ac:spMkLst>
        </pc:spChg>
        <pc:graphicFrameChg chg="add mod">
          <ac:chgData name="Filipe Moreira" userId="fa9bf1d2-47eb-439d-b2f4-ca03a48a6bbf" providerId="ADAL" clId="{00FA8EE1-9134-4261-9C3B-EE800857B6B7}" dt="2020-06-16T11:02:35.239" v="87" actId="13782"/>
          <ac:graphicFrameMkLst>
            <pc:docMk/>
            <pc:sldMk cId="1237600526" sldId="316"/>
            <ac:graphicFrameMk id="4" creationId="{27C3FD32-C3E4-4267-92A6-1D7F43B00EA6}"/>
          </ac:graphicFrameMkLst>
        </pc:graphicFrameChg>
      </pc:sldChg>
      <pc:sldChg chg="modSp mod">
        <pc:chgData name="Filipe Moreira" userId="fa9bf1d2-47eb-439d-b2f4-ca03a48a6bbf" providerId="ADAL" clId="{00FA8EE1-9134-4261-9C3B-EE800857B6B7}" dt="2020-06-16T12:18:16.920" v="404" actId="20577"/>
        <pc:sldMkLst>
          <pc:docMk/>
          <pc:sldMk cId="1615560134" sldId="317"/>
        </pc:sldMkLst>
        <pc:spChg chg="mod">
          <ac:chgData name="Filipe Moreira" userId="fa9bf1d2-47eb-439d-b2f4-ca03a48a6bbf" providerId="ADAL" clId="{00FA8EE1-9134-4261-9C3B-EE800857B6B7}" dt="2020-06-16T12:18:16.920" v="404" actId="20577"/>
          <ac:spMkLst>
            <pc:docMk/>
            <pc:sldMk cId="1615560134" sldId="317"/>
            <ac:spMk id="3" creationId="{859B2BAE-A383-4E74-B3CF-9AC64DA11727}"/>
          </ac:spMkLst>
        </pc:spChg>
      </pc:sldChg>
      <pc:sldChg chg="modSp add mod ord">
        <pc:chgData name="Filipe Moreira" userId="fa9bf1d2-47eb-439d-b2f4-ca03a48a6bbf" providerId="ADAL" clId="{00FA8EE1-9134-4261-9C3B-EE800857B6B7}" dt="2020-06-16T14:40:53.851" v="770" actId="20578"/>
        <pc:sldMkLst>
          <pc:docMk/>
          <pc:sldMk cId="4083746080" sldId="318"/>
        </pc:sldMkLst>
        <pc:spChg chg="mod">
          <ac:chgData name="Filipe Moreira" userId="fa9bf1d2-47eb-439d-b2f4-ca03a48a6bbf" providerId="ADAL" clId="{00FA8EE1-9134-4261-9C3B-EE800857B6B7}" dt="2020-06-16T12:19:09.340" v="408" actId="20577"/>
          <ac:spMkLst>
            <pc:docMk/>
            <pc:sldMk cId="4083746080" sldId="318"/>
            <ac:spMk id="2" creationId="{74CD77A6-E28D-4D8D-9FE5-64ADAA827AC9}"/>
          </ac:spMkLst>
        </pc:spChg>
      </pc:sldChg>
      <pc:sldChg chg="modSp add ord">
        <pc:chgData name="Filipe Moreira" userId="fa9bf1d2-47eb-439d-b2f4-ca03a48a6bbf" providerId="ADAL" clId="{00FA8EE1-9134-4261-9C3B-EE800857B6B7}" dt="2020-06-16T14:44:10.248" v="787"/>
        <pc:sldMkLst>
          <pc:docMk/>
          <pc:sldMk cId="185089779" sldId="319"/>
        </pc:sldMkLst>
        <pc:spChg chg="mod">
          <ac:chgData name="Filipe Moreira" userId="fa9bf1d2-47eb-439d-b2f4-ca03a48a6bbf" providerId="ADAL" clId="{00FA8EE1-9134-4261-9C3B-EE800857B6B7}" dt="2020-06-16T14:44:10.248" v="787"/>
          <ac:spMkLst>
            <pc:docMk/>
            <pc:sldMk cId="185089779" sldId="319"/>
            <ac:spMk id="2" creationId="{74CD77A6-E28D-4D8D-9FE5-64ADAA827AC9}"/>
          </ac:spMkLst>
        </pc:spChg>
      </pc:sldChg>
      <pc:sldChg chg="modSp add">
        <pc:chgData name="Filipe Moreira" userId="fa9bf1d2-47eb-439d-b2f4-ca03a48a6bbf" providerId="ADAL" clId="{00FA8EE1-9134-4261-9C3B-EE800857B6B7}" dt="2020-06-16T14:44:23.560" v="788"/>
        <pc:sldMkLst>
          <pc:docMk/>
          <pc:sldMk cId="3293856104" sldId="320"/>
        </pc:sldMkLst>
        <pc:spChg chg="mod">
          <ac:chgData name="Filipe Moreira" userId="fa9bf1d2-47eb-439d-b2f4-ca03a48a6bbf" providerId="ADAL" clId="{00FA8EE1-9134-4261-9C3B-EE800857B6B7}" dt="2020-06-16T14:44:23.560" v="788"/>
          <ac:spMkLst>
            <pc:docMk/>
            <pc:sldMk cId="3293856104" sldId="320"/>
            <ac:spMk id="2" creationId="{74CD77A6-E28D-4D8D-9FE5-64ADAA827AC9}"/>
          </ac:spMkLst>
        </pc:spChg>
      </pc:sldChg>
      <pc:sldChg chg="modSp add">
        <pc:chgData name="Filipe Moreira" userId="fa9bf1d2-47eb-439d-b2f4-ca03a48a6bbf" providerId="ADAL" clId="{00FA8EE1-9134-4261-9C3B-EE800857B6B7}" dt="2020-06-16T14:44:32.135" v="789"/>
        <pc:sldMkLst>
          <pc:docMk/>
          <pc:sldMk cId="2077514343" sldId="321"/>
        </pc:sldMkLst>
        <pc:spChg chg="mod">
          <ac:chgData name="Filipe Moreira" userId="fa9bf1d2-47eb-439d-b2f4-ca03a48a6bbf" providerId="ADAL" clId="{00FA8EE1-9134-4261-9C3B-EE800857B6B7}" dt="2020-06-16T14:44:32.135" v="789"/>
          <ac:spMkLst>
            <pc:docMk/>
            <pc:sldMk cId="2077514343" sldId="321"/>
            <ac:spMk id="2" creationId="{74CD77A6-E28D-4D8D-9FE5-64ADAA827AC9}"/>
          </ac:spMkLst>
        </pc:spChg>
      </pc:sldChg>
      <pc:sldChg chg="modSp add">
        <pc:chgData name="Filipe Moreira" userId="fa9bf1d2-47eb-439d-b2f4-ca03a48a6bbf" providerId="ADAL" clId="{00FA8EE1-9134-4261-9C3B-EE800857B6B7}" dt="2020-06-16T14:43:54.554" v="786"/>
        <pc:sldMkLst>
          <pc:docMk/>
          <pc:sldMk cId="336616292" sldId="322"/>
        </pc:sldMkLst>
        <pc:spChg chg="mod">
          <ac:chgData name="Filipe Moreira" userId="fa9bf1d2-47eb-439d-b2f4-ca03a48a6bbf" providerId="ADAL" clId="{00FA8EE1-9134-4261-9C3B-EE800857B6B7}" dt="2020-06-16T14:43:54.554" v="786"/>
          <ac:spMkLst>
            <pc:docMk/>
            <pc:sldMk cId="336616292" sldId="322"/>
            <ac:spMk id="2" creationId="{74CD77A6-E28D-4D8D-9FE5-64ADAA827AC9}"/>
          </ac:spMkLst>
        </pc:spChg>
      </pc:sldChg>
      <pc:sldChg chg="modSp add del mod">
        <pc:chgData name="Filipe Moreira" userId="fa9bf1d2-47eb-439d-b2f4-ca03a48a6bbf" providerId="ADAL" clId="{00FA8EE1-9134-4261-9C3B-EE800857B6B7}" dt="2020-06-16T14:57:34.455" v="851" actId="2696"/>
        <pc:sldMkLst>
          <pc:docMk/>
          <pc:sldMk cId="62941591" sldId="323"/>
        </pc:sldMkLst>
        <pc:spChg chg="mod">
          <ac:chgData name="Filipe Moreira" userId="fa9bf1d2-47eb-439d-b2f4-ca03a48a6bbf" providerId="ADAL" clId="{00FA8EE1-9134-4261-9C3B-EE800857B6B7}" dt="2020-06-16T14:54:33.589" v="807"/>
          <ac:spMkLst>
            <pc:docMk/>
            <pc:sldMk cId="62941591" sldId="323"/>
            <ac:spMk id="6" creationId="{00000000-0000-0000-0000-000000000000}"/>
          </ac:spMkLst>
        </pc:spChg>
        <pc:spChg chg="mod">
          <ac:chgData name="Filipe Moreira" userId="fa9bf1d2-47eb-439d-b2f4-ca03a48a6bbf" providerId="ADAL" clId="{00FA8EE1-9134-4261-9C3B-EE800857B6B7}" dt="2020-06-16T14:56:05.776" v="845" actId="1076"/>
          <ac:spMkLst>
            <pc:docMk/>
            <pc:sldMk cId="62941591" sldId="323"/>
            <ac:spMk id="7" creationId="{D3EAAD9A-76BF-48B0-A6BF-A24D0A8C5A8F}"/>
          </ac:spMkLst>
        </pc:spChg>
        <pc:graphicFrameChg chg="modGraphic">
          <ac:chgData name="Filipe Moreira" userId="fa9bf1d2-47eb-439d-b2f4-ca03a48a6bbf" providerId="ADAL" clId="{00FA8EE1-9134-4261-9C3B-EE800857B6B7}" dt="2020-06-16T14:55:14.841" v="833" actId="20577"/>
          <ac:graphicFrameMkLst>
            <pc:docMk/>
            <pc:sldMk cId="62941591" sldId="323"/>
            <ac:graphicFrameMk id="132" creationId="{602854A3-B709-4893-A7A7-ECA5177FAE28}"/>
          </ac:graphicFrameMkLst>
        </pc:graphicFrameChg>
        <pc:picChg chg="mod">
          <ac:chgData name="Filipe Moreira" userId="fa9bf1d2-47eb-439d-b2f4-ca03a48a6bbf" providerId="ADAL" clId="{00FA8EE1-9134-4261-9C3B-EE800857B6B7}" dt="2020-06-16T14:56:01.896" v="844" actId="14100"/>
          <ac:picMkLst>
            <pc:docMk/>
            <pc:sldMk cId="62941591" sldId="323"/>
            <ac:picMk id="148" creationId="{73B1218B-F53A-4144-81D3-6E72572D50BE}"/>
          </ac:picMkLst>
        </pc:picChg>
      </pc:sldChg>
      <pc:sldChg chg="add del">
        <pc:chgData name="Filipe Moreira" userId="fa9bf1d2-47eb-439d-b2f4-ca03a48a6bbf" providerId="ADAL" clId="{00FA8EE1-9134-4261-9C3B-EE800857B6B7}" dt="2020-06-16T14:53:14.847" v="800" actId="47"/>
        <pc:sldMkLst>
          <pc:docMk/>
          <pc:sldMk cId="1728927807" sldId="323"/>
        </pc:sldMkLst>
      </pc:sldChg>
      <pc:sldMasterChg chg="delSldLayout modSldLayout">
        <pc:chgData name="Filipe Moreira" userId="fa9bf1d2-47eb-439d-b2f4-ca03a48a6bbf" providerId="ADAL" clId="{00FA8EE1-9134-4261-9C3B-EE800857B6B7}" dt="2020-06-16T14:57:34.455" v="851" actId="2696"/>
        <pc:sldMasterMkLst>
          <pc:docMk/>
          <pc:sldMasterMk cId="1790270825" sldId="2147484082"/>
        </pc:sldMasterMkLst>
        <pc:sldLayoutChg chg="del">
          <pc:chgData name="Filipe Moreira" userId="fa9bf1d2-47eb-439d-b2f4-ca03a48a6bbf" providerId="ADAL" clId="{00FA8EE1-9134-4261-9C3B-EE800857B6B7}" dt="2020-06-16T14:53:14.847" v="800" actId="47"/>
          <pc:sldLayoutMkLst>
            <pc:docMk/>
            <pc:sldMasterMk cId="1790270825" sldId="2147484082"/>
            <pc:sldLayoutMk cId="1104929464" sldId="2147484268"/>
          </pc:sldLayoutMkLst>
        </pc:sldLayoutChg>
        <pc:sldLayoutChg chg="modSp mod">
          <pc:chgData name="Filipe Moreira" userId="fa9bf1d2-47eb-439d-b2f4-ca03a48a6bbf" providerId="ADAL" clId="{00FA8EE1-9134-4261-9C3B-EE800857B6B7}" dt="2020-06-16T14:53:22.235" v="802" actId="27636"/>
          <pc:sldLayoutMkLst>
            <pc:docMk/>
            <pc:sldMasterMk cId="1790270825" sldId="2147484082"/>
            <pc:sldLayoutMk cId="3035972461" sldId="2147484320"/>
          </pc:sldLayoutMkLst>
          <pc:spChg chg="mod">
            <ac:chgData name="Filipe Moreira" userId="fa9bf1d2-47eb-439d-b2f4-ca03a48a6bbf" providerId="ADAL" clId="{00FA8EE1-9134-4261-9C3B-EE800857B6B7}" dt="2020-06-16T14:53:22.235" v="802" actId="27636"/>
            <ac:spMkLst>
              <pc:docMk/>
              <pc:sldMasterMk cId="1790270825" sldId="2147484082"/>
              <pc:sldLayoutMk cId="3035972461" sldId="2147484320"/>
              <ac:spMk id="11" creationId="{4F94614A-5991-48D1-BAE0-C77F81393F2D}"/>
            </ac:spMkLst>
          </pc:spChg>
        </pc:sldLayoutChg>
        <pc:sldLayoutChg chg="del">
          <pc:chgData name="Filipe Moreira" userId="fa9bf1d2-47eb-439d-b2f4-ca03a48a6bbf" providerId="ADAL" clId="{00FA8EE1-9134-4261-9C3B-EE800857B6B7}" dt="2020-06-16T14:57:34.455" v="851" actId="2696"/>
          <pc:sldLayoutMkLst>
            <pc:docMk/>
            <pc:sldMasterMk cId="1790270825" sldId="2147484082"/>
            <pc:sldLayoutMk cId="3540369992" sldId="2147484321"/>
          </pc:sldLayoutMkLst>
        </pc:sldLayoutChg>
      </pc:sldMasterChg>
      <pc:sldMasterChg chg="modSldLayout">
        <pc:chgData name="Filipe Moreira" userId="fa9bf1d2-47eb-439d-b2f4-ca03a48a6bbf" providerId="ADAL" clId="{00FA8EE1-9134-4261-9C3B-EE800857B6B7}" dt="2020-06-16T12:17:27.980" v="393" actId="27636"/>
        <pc:sldMasterMkLst>
          <pc:docMk/>
          <pc:sldMasterMk cId="1758651976" sldId="2147484270"/>
        </pc:sldMasterMkLst>
        <pc:sldLayoutChg chg="modSp mod">
          <pc:chgData name="Filipe Moreira" userId="fa9bf1d2-47eb-439d-b2f4-ca03a48a6bbf" providerId="ADAL" clId="{00FA8EE1-9134-4261-9C3B-EE800857B6B7}" dt="2020-06-16T12:17:27.980" v="393" actId="27636"/>
          <pc:sldLayoutMkLst>
            <pc:docMk/>
            <pc:sldMasterMk cId="1758651976" sldId="2147484270"/>
            <pc:sldLayoutMk cId="893699130" sldId="2147484312"/>
          </pc:sldLayoutMkLst>
          <pc:spChg chg="mod">
            <ac:chgData name="Filipe Moreira" userId="fa9bf1d2-47eb-439d-b2f4-ca03a48a6bbf" providerId="ADAL" clId="{00FA8EE1-9134-4261-9C3B-EE800857B6B7}" dt="2020-06-16T12:17:27.980" v="393" actId="27636"/>
            <ac:spMkLst>
              <pc:docMk/>
              <pc:sldMasterMk cId="1758651976" sldId="2147484270"/>
              <pc:sldLayoutMk cId="893699130" sldId="2147484312"/>
              <ac:spMk id="11" creationId="{4F94614A-5991-48D1-BAE0-C77F81393F2D}"/>
            </ac:spMkLst>
          </pc:spChg>
        </pc:sldLayoutChg>
      </pc:sldMasterChg>
      <pc:sldMasterChg chg="addSp modTransition modSldLayout">
        <pc:chgData name="Filipe Moreira" userId="fa9bf1d2-47eb-439d-b2f4-ca03a48a6bbf" providerId="ADAL" clId="{00FA8EE1-9134-4261-9C3B-EE800857B6B7}" dt="2020-06-16T12:07:29.667" v="255"/>
        <pc:sldMasterMkLst>
          <pc:docMk/>
          <pc:sldMasterMk cId="2070494428" sldId="2147484270"/>
        </pc:sldMasterMkLst>
        <pc:picChg chg="add">
          <ac:chgData name="Filipe Moreira" userId="fa9bf1d2-47eb-439d-b2f4-ca03a48a6bbf" providerId="ADAL" clId="{00FA8EE1-9134-4261-9C3B-EE800857B6B7}" dt="2020-06-16T12:07:06.754" v="247"/>
          <ac:picMkLst>
            <pc:docMk/>
            <pc:sldMasterMk cId="2070494428" sldId="2147484270"/>
            <ac:picMk id="9" creationId="{5631B765-1E5F-4275-94A2-BBE9D5AFF11B}"/>
          </ac:picMkLst>
        </pc:picChg>
        <pc:sldLayoutChg chg="modTransition">
          <pc:chgData name="Filipe Moreira" userId="fa9bf1d2-47eb-439d-b2f4-ca03a48a6bbf" providerId="ADAL" clId="{00FA8EE1-9134-4261-9C3B-EE800857B6B7}" dt="2020-06-16T12:07:29.667" v="255"/>
          <pc:sldLayoutMkLst>
            <pc:docMk/>
            <pc:sldMasterMk cId="2070494428" sldId="2147484270"/>
            <pc:sldLayoutMk cId="3293640467" sldId="2147484284"/>
          </pc:sldLayoutMkLst>
        </pc:sldLayoutChg>
        <pc:sldLayoutChg chg="addSp modTransition">
          <pc:chgData name="Filipe Moreira" userId="fa9bf1d2-47eb-439d-b2f4-ca03a48a6bbf" providerId="ADAL" clId="{00FA8EE1-9134-4261-9C3B-EE800857B6B7}" dt="2020-06-16T12:07:29.667" v="255"/>
          <pc:sldLayoutMkLst>
            <pc:docMk/>
            <pc:sldMasterMk cId="2070494428" sldId="2147484270"/>
            <pc:sldLayoutMk cId="2976061529" sldId="2147484308"/>
          </pc:sldLayoutMkLst>
          <pc:spChg chg="add">
            <ac:chgData name="Filipe Moreira" userId="fa9bf1d2-47eb-439d-b2f4-ca03a48a6bbf" providerId="ADAL" clId="{00FA8EE1-9134-4261-9C3B-EE800857B6B7}" dt="2020-06-16T12:07:06.754" v="247"/>
            <ac:spMkLst>
              <pc:docMk/>
              <pc:sldMasterMk cId="2070494428" sldId="2147484270"/>
              <pc:sldLayoutMk cId="2976061529" sldId="2147484308"/>
              <ac:spMk id="4" creationId="{C1BC3A41-DA0B-40C5-80C3-686718F3560C}"/>
            </ac:spMkLst>
          </pc:spChg>
        </pc:sldLayoutChg>
        <pc:sldLayoutChg chg="modTransition">
          <pc:chgData name="Filipe Moreira" userId="fa9bf1d2-47eb-439d-b2f4-ca03a48a6bbf" providerId="ADAL" clId="{00FA8EE1-9134-4261-9C3B-EE800857B6B7}" dt="2020-06-16T12:07:29.667" v="255"/>
          <pc:sldLayoutMkLst>
            <pc:docMk/>
            <pc:sldMasterMk cId="2070494428" sldId="2147484270"/>
            <pc:sldLayoutMk cId="4156791805" sldId="2147484310"/>
          </pc:sldLayoutMkLst>
        </pc:sldLayoutChg>
        <pc:sldLayoutChg chg="addSp modSp mod">
          <pc:chgData name="Filipe Moreira" userId="fa9bf1d2-47eb-439d-b2f4-ca03a48a6bbf" providerId="ADAL" clId="{00FA8EE1-9134-4261-9C3B-EE800857B6B7}" dt="2020-06-16T12:07:29.667" v="255"/>
          <pc:sldLayoutMkLst>
            <pc:docMk/>
            <pc:sldMasterMk cId="2070494428" sldId="2147484270"/>
            <pc:sldLayoutMk cId="3481567066" sldId="2147484312"/>
          </pc:sldLayoutMkLst>
          <pc:spChg chg="add">
            <ac:chgData name="Filipe Moreira" userId="fa9bf1d2-47eb-439d-b2f4-ca03a48a6bbf" providerId="ADAL" clId="{00FA8EE1-9134-4261-9C3B-EE800857B6B7}" dt="2020-06-16T12:07:06.754" v="247"/>
            <ac:spMkLst>
              <pc:docMk/>
              <pc:sldMasterMk cId="2070494428" sldId="2147484270"/>
              <pc:sldLayoutMk cId="3481567066" sldId="2147484312"/>
              <ac:spMk id="3" creationId="{CC559332-5AE6-4828-B35E-C79C8C59B49F}"/>
            </ac:spMkLst>
          </pc:spChg>
          <pc:spChg chg="mod">
            <ac:chgData name="Filipe Moreira" userId="fa9bf1d2-47eb-439d-b2f4-ca03a48a6bbf" providerId="ADAL" clId="{00FA8EE1-9134-4261-9C3B-EE800857B6B7}" dt="2020-06-16T12:07:29.667" v="255"/>
            <ac:spMkLst>
              <pc:docMk/>
              <pc:sldMasterMk cId="2070494428" sldId="2147484270"/>
              <pc:sldLayoutMk cId="3481567066" sldId="2147484312"/>
              <ac:spMk id="11" creationId="{4F94614A-5991-48D1-BAE0-C77F81393F2D}"/>
            </ac:spMkLst>
          </pc:spChg>
        </pc:sldLayoutChg>
        <pc:sldLayoutChg chg="addSp modTransition">
          <pc:chgData name="Filipe Moreira" userId="fa9bf1d2-47eb-439d-b2f4-ca03a48a6bbf" providerId="ADAL" clId="{00FA8EE1-9134-4261-9C3B-EE800857B6B7}" dt="2020-06-16T12:07:29.667" v="255"/>
          <pc:sldLayoutMkLst>
            <pc:docMk/>
            <pc:sldMasterMk cId="2070494428" sldId="2147484270"/>
            <pc:sldLayoutMk cId="1768280909" sldId="2147484313"/>
          </pc:sldLayoutMkLst>
          <pc:spChg chg="add">
            <ac:chgData name="Filipe Moreira" userId="fa9bf1d2-47eb-439d-b2f4-ca03a48a6bbf" providerId="ADAL" clId="{00FA8EE1-9134-4261-9C3B-EE800857B6B7}" dt="2020-06-16T12:07:06.754" v="247"/>
            <ac:spMkLst>
              <pc:docMk/>
              <pc:sldMasterMk cId="2070494428" sldId="2147484270"/>
              <pc:sldLayoutMk cId="1768280909" sldId="2147484313"/>
              <ac:spMk id="4" creationId="{002B7B51-FFCF-4300-9493-473291C8727E}"/>
            </ac:spMkLst>
          </pc:spChg>
          <pc:picChg chg="add">
            <ac:chgData name="Filipe Moreira" userId="fa9bf1d2-47eb-439d-b2f4-ca03a48a6bbf" providerId="ADAL" clId="{00FA8EE1-9134-4261-9C3B-EE800857B6B7}" dt="2020-06-16T12:07:06.754" v="247"/>
            <ac:picMkLst>
              <pc:docMk/>
              <pc:sldMasterMk cId="2070494428" sldId="2147484270"/>
              <pc:sldLayoutMk cId="1768280909" sldId="2147484313"/>
              <ac:picMk id="5" creationId="{F021DC54-0CA0-44E9-8DA9-808C712C45FB}"/>
            </ac:picMkLst>
          </pc:picChg>
        </pc:sldLayoutChg>
      </pc:sldMasterChg>
      <pc:sldMasterChg chg="modSldLayout">
        <pc:chgData name="Filipe Moreira" userId="fa9bf1d2-47eb-439d-b2f4-ca03a48a6bbf" providerId="ADAL" clId="{00FA8EE1-9134-4261-9C3B-EE800857B6B7}" dt="2020-06-16T12:07:29.667" v="255"/>
        <pc:sldMasterMkLst>
          <pc:docMk/>
          <pc:sldMasterMk cId="493980030" sldId="2147484326"/>
        </pc:sldMasterMkLst>
        <pc:sldLayoutChg chg="modSp mod">
          <pc:chgData name="Filipe Moreira" userId="fa9bf1d2-47eb-439d-b2f4-ca03a48a6bbf" providerId="ADAL" clId="{00FA8EE1-9134-4261-9C3B-EE800857B6B7}" dt="2020-06-16T12:07:29.667" v="255"/>
          <pc:sldLayoutMkLst>
            <pc:docMk/>
            <pc:sldMasterMk cId="493980030" sldId="2147484326"/>
            <pc:sldLayoutMk cId="1538246950" sldId="2147484368"/>
          </pc:sldLayoutMkLst>
          <pc:spChg chg="mod">
            <ac:chgData name="Filipe Moreira" userId="fa9bf1d2-47eb-439d-b2f4-ca03a48a6bbf" providerId="ADAL" clId="{00FA8EE1-9134-4261-9C3B-EE800857B6B7}" dt="2020-06-16T12:07:29.667" v="255"/>
            <ac:spMkLst>
              <pc:docMk/>
              <pc:sldMasterMk cId="493980030" sldId="2147484326"/>
              <pc:sldLayoutMk cId="1538246950" sldId="2147484368"/>
              <ac:spMk id="11" creationId="{4F94614A-5991-48D1-BAE0-C77F81393F2D}"/>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E13BA9-87AC-4CB4-ACCB-5A73E09E70A0}"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3D38227C-5DE4-4D17-8A17-0458AF035318}">
      <dgm:prSet custT="1"/>
      <dgm:spPr/>
      <dgm:t>
        <a:bodyPr/>
        <a:lstStyle/>
        <a:p>
          <a:r>
            <a:rPr lang="en-GB" sz="3200" baseline="0"/>
            <a:t>To answer questions such as:</a:t>
          </a:r>
          <a:endParaRPr lang="en-US" sz="3200"/>
        </a:p>
      </dgm:t>
    </dgm:pt>
    <dgm:pt modelId="{24E24C57-EC5D-40F3-A74B-5671A83EBC24}" type="parTrans" cxnId="{C89A70D6-5C40-44D6-A30A-806B0B210D15}">
      <dgm:prSet/>
      <dgm:spPr/>
      <dgm:t>
        <a:bodyPr/>
        <a:lstStyle/>
        <a:p>
          <a:endParaRPr lang="en-US"/>
        </a:p>
      </dgm:t>
    </dgm:pt>
    <dgm:pt modelId="{C4AD423E-38C9-4676-B8FD-28D0BDB0E114}" type="sibTrans" cxnId="{C89A70D6-5C40-44D6-A30A-806B0B210D15}">
      <dgm:prSet/>
      <dgm:spPr/>
      <dgm:t>
        <a:bodyPr/>
        <a:lstStyle/>
        <a:p>
          <a:endParaRPr lang="en-US"/>
        </a:p>
      </dgm:t>
    </dgm:pt>
    <dgm:pt modelId="{60DA1EF6-1472-4BAE-8FFD-98C5B791C306}">
      <dgm:prSet/>
      <dgm:spPr/>
      <dgm:t>
        <a:bodyPr/>
        <a:lstStyle/>
        <a:p>
          <a:r>
            <a:rPr lang="en-GB" baseline="0"/>
            <a:t># rows resulting from a filter predicate(s)?</a:t>
          </a:r>
          <a:endParaRPr lang="en-US"/>
        </a:p>
      </dgm:t>
    </dgm:pt>
    <dgm:pt modelId="{AC29E783-20AF-4579-9D0D-BE84F1A20E22}" type="parTrans" cxnId="{BBB89F42-D0FB-4712-8F5F-F3B0059B89AF}">
      <dgm:prSet/>
      <dgm:spPr/>
      <dgm:t>
        <a:bodyPr/>
        <a:lstStyle/>
        <a:p>
          <a:endParaRPr lang="en-US"/>
        </a:p>
      </dgm:t>
    </dgm:pt>
    <dgm:pt modelId="{A1125F9D-AF16-4134-8F47-6315B2A853FA}" type="sibTrans" cxnId="{BBB89F42-D0FB-4712-8F5F-F3B0059B89AF}">
      <dgm:prSet/>
      <dgm:spPr/>
      <dgm:t>
        <a:bodyPr/>
        <a:lstStyle/>
        <a:p>
          <a:endParaRPr lang="en-US"/>
        </a:p>
      </dgm:t>
    </dgm:pt>
    <dgm:pt modelId="{F88E9639-E7E9-4760-82E9-B07D0D9CF5F3}">
      <dgm:prSet/>
      <dgm:spPr/>
      <dgm:t>
        <a:bodyPr/>
        <a:lstStyle/>
        <a:p>
          <a:r>
            <a:rPr lang="en-GB" baseline="0"/>
            <a:t># rows resulting from a join?</a:t>
          </a:r>
          <a:endParaRPr lang="en-US"/>
        </a:p>
      </dgm:t>
    </dgm:pt>
    <dgm:pt modelId="{24EE1537-5B27-4D3F-A696-67B07E7AEC60}" type="parTrans" cxnId="{7110E263-E94A-4E51-BEFD-0CE333897460}">
      <dgm:prSet/>
      <dgm:spPr/>
      <dgm:t>
        <a:bodyPr/>
        <a:lstStyle/>
        <a:p>
          <a:endParaRPr lang="en-US"/>
        </a:p>
      </dgm:t>
    </dgm:pt>
    <dgm:pt modelId="{98FCCAB7-AAFE-4075-B98F-15E1E8E6B898}" type="sibTrans" cxnId="{7110E263-E94A-4E51-BEFD-0CE333897460}">
      <dgm:prSet/>
      <dgm:spPr/>
      <dgm:t>
        <a:bodyPr/>
        <a:lstStyle/>
        <a:p>
          <a:endParaRPr lang="en-US"/>
        </a:p>
      </dgm:t>
    </dgm:pt>
    <dgm:pt modelId="{5AC3BCE7-2128-4472-99AD-369E8B001313}">
      <dgm:prSet/>
      <dgm:spPr/>
      <dgm:t>
        <a:bodyPr/>
        <a:lstStyle/>
        <a:p>
          <a:r>
            <a:rPr lang="en-GB" baseline="0"/>
            <a:t># distinct values from a specific column(s)?</a:t>
          </a:r>
          <a:endParaRPr lang="en-US"/>
        </a:p>
      </dgm:t>
    </dgm:pt>
    <dgm:pt modelId="{720C842F-D736-41A3-B65E-782E86E79ED0}" type="parTrans" cxnId="{45F1B6BE-A095-49B2-9C48-F9A418D62560}">
      <dgm:prSet/>
      <dgm:spPr/>
      <dgm:t>
        <a:bodyPr/>
        <a:lstStyle/>
        <a:p>
          <a:endParaRPr lang="en-US"/>
        </a:p>
      </dgm:t>
    </dgm:pt>
    <dgm:pt modelId="{9B778E7D-5021-45B7-8E3B-C809CA20FE91}" type="sibTrans" cxnId="{45F1B6BE-A095-49B2-9C48-F9A418D62560}">
      <dgm:prSet/>
      <dgm:spPr/>
      <dgm:t>
        <a:bodyPr/>
        <a:lstStyle/>
        <a:p>
          <a:endParaRPr lang="en-US"/>
        </a:p>
      </dgm:t>
    </dgm:pt>
    <dgm:pt modelId="{2FEBA94C-F165-40FE-8D14-923C1310DCC4}" type="pres">
      <dgm:prSet presAssocID="{7EE13BA9-87AC-4CB4-ACCB-5A73E09E70A0}" presName="Name0" presStyleCnt="0">
        <dgm:presLayoutVars>
          <dgm:chPref val="3"/>
          <dgm:dir/>
          <dgm:animLvl val="lvl"/>
          <dgm:resizeHandles/>
        </dgm:presLayoutVars>
      </dgm:prSet>
      <dgm:spPr/>
    </dgm:pt>
    <dgm:pt modelId="{6FDDE739-5E18-40F2-A897-A6BA231DE681}" type="pres">
      <dgm:prSet presAssocID="{3D38227C-5DE4-4D17-8A17-0458AF035318}" presName="horFlow" presStyleCnt="0"/>
      <dgm:spPr/>
    </dgm:pt>
    <dgm:pt modelId="{05E18381-0238-4D26-BEFD-BB1789520B15}" type="pres">
      <dgm:prSet presAssocID="{3D38227C-5DE4-4D17-8A17-0458AF035318}" presName="bigChev" presStyleLbl="node1" presStyleIdx="0" presStyleCnt="1"/>
      <dgm:spPr/>
    </dgm:pt>
    <dgm:pt modelId="{6A0CB02B-3A18-40F4-80A8-64230475190D}" type="pres">
      <dgm:prSet presAssocID="{AC29E783-20AF-4579-9D0D-BE84F1A20E22}" presName="parTrans" presStyleCnt="0"/>
      <dgm:spPr/>
    </dgm:pt>
    <dgm:pt modelId="{0CFA3AF8-E9CC-4A46-B192-F49A22724BC2}" type="pres">
      <dgm:prSet presAssocID="{60DA1EF6-1472-4BAE-8FFD-98C5B791C306}" presName="node" presStyleLbl="alignAccFollowNode1" presStyleIdx="0" presStyleCnt="3">
        <dgm:presLayoutVars>
          <dgm:bulletEnabled val="1"/>
        </dgm:presLayoutVars>
      </dgm:prSet>
      <dgm:spPr/>
    </dgm:pt>
    <dgm:pt modelId="{BD48191D-9CDA-46A1-B471-19C0283A0115}" type="pres">
      <dgm:prSet presAssocID="{A1125F9D-AF16-4134-8F47-6315B2A853FA}" presName="sibTrans" presStyleCnt="0"/>
      <dgm:spPr/>
    </dgm:pt>
    <dgm:pt modelId="{40F253E9-FE43-42E7-A354-3FECAA77E043}" type="pres">
      <dgm:prSet presAssocID="{F88E9639-E7E9-4760-82E9-B07D0D9CF5F3}" presName="node" presStyleLbl="alignAccFollowNode1" presStyleIdx="1" presStyleCnt="3">
        <dgm:presLayoutVars>
          <dgm:bulletEnabled val="1"/>
        </dgm:presLayoutVars>
      </dgm:prSet>
      <dgm:spPr/>
    </dgm:pt>
    <dgm:pt modelId="{54FA90A6-5F12-4644-8623-C1905262EAFD}" type="pres">
      <dgm:prSet presAssocID="{98FCCAB7-AAFE-4075-B98F-15E1E8E6B898}" presName="sibTrans" presStyleCnt="0"/>
      <dgm:spPr/>
    </dgm:pt>
    <dgm:pt modelId="{3676A83C-3655-4DF2-B601-4A3E79D6D74A}" type="pres">
      <dgm:prSet presAssocID="{5AC3BCE7-2128-4472-99AD-369E8B001313}" presName="node" presStyleLbl="alignAccFollowNode1" presStyleIdx="2" presStyleCnt="3">
        <dgm:presLayoutVars>
          <dgm:bulletEnabled val="1"/>
        </dgm:presLayoutVars>
      </dgm:prSet>
      <dgm:spPr/>
    </dgm:pt>
  </dgm:ptLst>
  <dgm:cxnLst>
    <dgm:cxn modelId="{D0A41106-4B49-4847-8788-AD4F313283D9}" type="presOf" srcId="{60DA1EF6-1472-4BAE-8FFD-98C5B791C306}" destId="{0CFA3AF8-E9CC-4A46-B192-F49A22724BC2}" srcOrd="0" destOrd="0" presId="urn:microsoft.com/office/officeart/2005/8/layout/lProcess3"/>
    <dgm:cxn modelId="{68C61122-8941-4A9D-84EF-1A45C125B280}" type="presOf" srcId="{3D38227C-5DE4-4D17-8A17-0458AF035318}" destId="{05E18381-0238-4D26-BEFD-BB1789520B15}" srcOrd="0" destOrd="0" presId="urn:microsoft.com/office/officeart/2005/8/layout/lProcess3"/>
    <dgm:cxn modelId="{48DC7962-E9A7-4528-9566-15A30645301D}" type="presOf" srcId="{5AC3BCE7-2128-4472-99AD-369E8B001313}" destId="{3676A83C-3655-4DF2-B601-4A3E79D6D74A}" srcOrd="0" destOrd="0" presId="urn:microsoft.com/office/officeart/2005/8/layout/lProcess3"/>
    <dgm:cxn modelId="{BBB89F42-D0FB-4712-8F5F-F3B0059B89AF}" srcId="{3D38227C-5DE4-4D17-8A17-0458AF035318}" destId="{60DA1EF6-1472-4BAE-8FFD-98C5B791C306}" srcOrd="0" destOrd="0" parTransId="{AC29E783-20AF-4579-9D0D-BE84F1A20E22}" sibTransId="{A1125F9D-AF16-4134-8F47-6315B2A853FA}"/>
    <dgm:cxn modelId="{7110E263-E94A-4E51-BEFD-0CE333897460}" srcId="{3D38227C-5DE4-4D17-8A17-0458AF035318}" destId="{F88E9639-E7E9-4760-82E9-B07D0D9CF5F3}" srcOrd="1" destOrd="0" parTransId="{24EE1537-5B27-4D3F-A696-67B07E7AEC60}" sibTransId="{98FCCAB7-AAFE-4075-B98F-15E1E8E6B898}"/>
    <dgm:cxn modelId="{B135049E-8AA7-4B2A-9FEF-E062789D4996}" type="presOf" srcId="{7EE13BA9-87AC-4CB4-ACCB-5A73E09E70A0}" destId="{2FEBA94C-F165-40FE-8D14-923C1310DCC4}" srcOrd="0" destOrd="0" presId="urn:microsoft.com/office/officeart/2005/8/layout/lProcess3"/>
    <dgm:cxn modelId="{45F1B6BE-A095-49B2-9C48-F9A418D62560}" srcId="{3D38227C-5DE4-4D17-8A17-0458AF035318}" destId="{5AC3BCE7-2128-4472-99AD-369E8B001313}" srcOrd="2" destOrd="0" parTransId="{720C842F-D736-41A3-B65E-782E86E79ED0}" sibTransId="{9B778E7D-5021-45B7-8E3B-C809CA20FE91}"/>
    <dgm:cxn modelId="{0F35BDCB-568F-4CE8-A7EF-170D8E80FFED}" type="presOf" srcId="{F88E9639-E7E9-4760-82E9-B07D0D9CF5F3}" destId="{40F253E9-FE43-42E7-A354-3FECAA77E043}" srcOrd="0" destOrd="0" presId="urn:microsoft.com/office/officeart/2005/8/layout/lProcess3"/>
    <dgm:cxn modelId="{C89A70D6-5C40-44D6-A30A-806B0B210D15}" srcId="{7EE13BA9-87AC-4CB4-ACCB-5A73E09E70A0}" destId="{3D38227C-5DE4-4D17-8A17-0458AF035318}" srcOrd="0" destOrd="0" parTransId="{24E24C57-EC5D-40F3-A74B-5671A83EBC24}" sibTransId="{C4AD423E-38C9-4676-B8FD-28D0BDB0E114}"/>
    <dgm:cxn modelId="{452710B7-DC4A-41F8-9529-00FE83B47784}" type="presParOf" srcId="{2FEBA94C-F165-40FE-8D14-923C1310DCC4}" destId="{6FDDE739-5E18-40F2-A897-A6BA231DE681}" srcOrd="0" destOrd="0" presId="urn:microsoft.com/office/officeart/2005/8/layout/lProcess3"/>
    <dgm:cxn modelId="{9A76010D-9AD5-4B64-9BC5-DAD0A1315BBC}" type="presParOf" srcId="{6FDDE739-5E18-40F2-A897-A6BA231DE681}" destId="{05E18381-0238-4D26-BEFD-BB1789520B15}" srcOrd="0" destOrd="0" presId="urn:microsoft.com/office/officeart/2005/8/layout/lProcess3"/>
    <dgm:cxn modelId="{4A149133-437F-48D7-BB05-C1FC9E53CE61}" type="presParOf" srcId="{6FDDE739-5E18-40F2-A897-A6BA231DE681}" destId="{6A0CB02B-3A18-40F4-80A8-64230475190D}" srcOrd="1" destOrd="0" presId="urn:microsoft.com/office/officeart/2005/8/layout/lProcess3"/>
    <dgm:cxn modelId="{827B614F-0A81-4660-A693-3589366263CA}" type="presParOf" srcId="{6FDDE739-5E18-40F2-A897-A6BA231DE681}" destId="{0CFA3AF8-E9CC-4A46-B192-F49A22724BC2}" srcOrd="2" destOrd="0" presId="urn:microsoft.com/office/officeart/2005/8/layout/lProcess3"/>
    <dgm:cxn modelId="{502BFE10-0617-47B1-BA03-E22C8F6B5722}" type="presParOf" srcId="{6FDDE739-5E18-40F2-A897-A6BA231DE681}" destId="{BD48191D-9CDA-46A1-B471-19C0283A0115}" srcOrd="3" destOrd="0" presId="urn:microsoft.com/office/officeart/2005/8/layout/lProcess3"/>
    <dgm:cxn modelId="{15D6BB1B-EE02-47B3-B590-CF7E316C755A}" type="presParOf" srcId="{6FDDE739-5E18-40F2-A897-A6BA231DE681}" destId="{40F253E9-FE43-42E7-A354-3FECAA77E043}" srcOrd="4" destOrd="0" presId="urn:microsoft.com/office/officeart/2005/8/layout/lProcess3"/>
    <dgm:cxn modelId="{BA3BDDDC-588C-4EE7-86B9-FE29320D5886}" type="presParOf" srcId="{6FDDE739-5E18-40F2-A897-A6BA231DE681}" destId="{54FA90A6-5F12-4644-8623-C1905262EAFD}" srcOrd="5" destOrd="0" presId="urn:microsoft.com/office/officeart/2005/8/layout/lProcess3"/>
    <dgm:cxn modelId="{6542EB3C-9712-493D-BD17-DFB9BE8DDA17}" type="presParOf" srcId="{6FDDE739-5E18-40F2-A897-A6BA231DE681}" destId="{3676A83C-3655-4DF2-B601-4A3E79D6D74A}"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D7C43FE-A604-4E79-9E9B-2CC5EAC53EF8}" type="doc">
      <dgm:prSet loTypeId="urn:microsoft.com/office/officeart/2008/layout/VerticalCurvedList" loCatId="list" qsTypeId="urn:microsoft.com/office/officeart/2005/8/quickstyle/simple1" qsCatId="simple" csTypeId="urn:microsoft.com/office/officeart/2005/8/colors/accent1_2" csCatId="accent1"/>
      <dgm:spPr/>
      <dgm:t>
        <a:bodyPr/>
        <a:lstStyle/>
        <a:p>
          <a:endParaRPr lang="en-US"/>
        </a:p>
      </dgm:t>
    </dgm:pt>
    <dgm:pt modelId="{C2DC9013-0465-4EEA-8C36-53D10A8A2C56}">
      <dgm:prSet/>
      <dgm:spPr/>
      <dgm:t>
        <a:bodyPr/>
        <a:lstStyle/>
        <a:p>
          <a:r>
            <a:rPr lang="en-GB" baseline="0"/>
            <a:t>Statistical information also held on the table</a:t>
          </a:r>
          <a:endParaRPr lang="en-US"/>
        </a:p>
      </dgm:t>
    </dgm:pt>
    <dgm:pt modelId="{EBA534E3-B75A-4E0F-9103-1D13B8EF8C75}" type="parTrans" cxnId="{121E40C0-F2E7-4262-83A6-142317D66EEC}">
      <dgm:prSet/>
      <dgm:spPr/>
      <dgm:t>
        <a:bodyPr/>
        <a:lstStyle/>
        <a:p>
          <a:endParaRPr lang="en-US"/>
        </a:p>
      </dgm:t>
    </dgm:pt>
    <dgm:pt modelId="{69BD7140-E12D-4500-9797-A397F9561D55}" type="sibTrans" cxnId="{121E40C0-F2E7-4262-83A6-142317D66EEC}">
      <dgm:prSet/>
      <dgm:spPr/>
      <dgm:t>
        <a:bodyPr/>
        <a:lstStyle/>
        <a:p>
          <a:endParaRPr lang="en-US"/>
        </a:p>
      </dgm:t>
    </dgm:pt>
    <dgm:pt modelId="{A3AC7806-DA4B-4A97-872D-BF1076AE8F33}">
      <dgm:prSet/>
      <dgm:spPr/>
      <dgm:t>
        <a:bodyPr/>
        <a:lstStyle/>
        <a:p>
          <a:r>
            <a:rPr lang="en-GB" baseline="0"/>
            <a:t>Row count </a:t>
          </a:r>
          <a:endParaRPr lang="en-US"/>
        </a:p>
      </dgm:t>
    </dgm:pt>
    <dgm:pt modelId="{8C1B1F10-38E0-4247-B5E1-66854512EA16}" type="parTrans" cxnId="{C635B619-3D82-4F61-A57B-96E915AFAEBB}">
      <dgm:prSet/>
      <dgm:spPr/>
      <dgm:t>
        <a:bodyPr/>
        <a:lstStyle/>
        <a:p>
          <a:endParaRPr lang="en-US"/>
        </a:p>
      </dgm:t>
    </dgm:pt>
    <dgm:pt modelId="{35587AE5-C642-457F-877F-8EDE15BA100E}" type="sibTrans" cxnId="{C635B619-3D82-4F61-A57B-96E915AFAEBB}">
      <dgm:prSet/>
      <dgm:spPr/>
      <dgm:t>
        <a:bodyPr/>
        <a:lstStyle/>
        <a:p>
          <a:endParaRPr lang="en-US"/>
        </a:p>
      </dgm:t>
    </dgm:pt>
    <dgm:pt modelId="{06C2EE44-115C-4101-A40E-34375BDFFCBA}">
      <dgm:prSet/>
      <dgm:spPr/>
      <dgm:t>
        <a:bodyPr/>
        <a:lstStyle/>
        <a:p>
          <a:r>
            <a:rPr lang="en-GB" baseline="0"/>
            <a:t>Page Count</a:t>
          </a:r>
          <a:endParaRPr lang="en-US"/>
        </a:p>
      </dgm:t>
    </dgm:pt>
    <dgm:pt modelId="{41CAE056-E7EF-451C-99CE-E8E20C527F93}" type="parTrans" cxnId="{2317B292-7F7B-4A67-ACAD-3FCD9104A1FE}">
      <dgm:prSet/>
      <dgm:spPr/>
      <dgm:t>
        <a:bodyPr/>
        <a:lstStyle/>
        <a:p>
          <a:endParaRPr lang="en-US"/>
        </a:p>
      </dgm:t>
    </dgm:pt>
    <dgm:pt modelId="{1EAD9147-97A1-446A-AC24-837AD0A6894A}" type="sibTrans" cxnId="{2317B292-7F7B-4A67-ACAD-3FCD9104A1FE}">
      <dgm:prSet/>
      <dgm:spPr/>
      <dgm:t>
        <a:bodyPr/>
        <a:lstStyle/>
        <a:p>
          <a:endParaRPr lang="en-US"/>
        </a:p>
      </dgm:t>
    </dgm:pt>
    <dgm:pt modelId="{B98F1951-A6F5-4608-8DF2-96A28752249A}">
      <dgm:prSet/>
      <dgm:spPr/>
      <dgm:t>
        <a:bodyPr/>
        <a:lstStyle/>
        <a:p>
          <a:r>
            <a:rPr lang="en-GB" baseline="0"/>
            <a:t>Used to estimate the size of a given table</a:t>
          </a:r>
          <a:endParaRPr lang="en-US"/>
        </a:p>
      </dgm:t>
    </dgm:pt>
    <dgm:pt modelId="{E6BD5EBC-7F45-48CC-82B7-3728D634DA3E}" type="parTrans" cxnId="{4F695175-A9BC-4A90-9E55-63515F4C1F15}">
      <dgm:prSet/>
      <dgm:spPr/>
      <dgm:t>
        <a:bodyPr/>
        <a:lstStyle/>
        <a:p>
          <a:endParaRPr lang="en-US"/>
        </a:p>
      </dgm:t>
    </dgm:pt>
    <dgm:pt modelId="{5A2B7FC2-2F81-4051-9C19-FA9955FBBBCB}" type="sibTrans" cxnId="{4F695175-A9BC-4A90-9E55-63515F4C1F15}">
      <dgm:prSet/>
      <dgm:spPr/>
      <dgm:t>
        <a:bodyPr/>
        <a:lstStyle/>
        <a:p>
          <a:endParaRPr lang="en-US"/>
        </a:p>
      </dgm:t>
    </dgm:pt>
    <dgm:pt modelId="{F6954B43-15A1-402F-81C0-C8492E79307E}" type="pres">
      <dgm:prSet presAssocID="{AD7C43FE-A604-4E79-9E9B-2CC5EAC53EF8}" presName="Name0" presStyleCnt="0">
        <dgm:presLayoutVars>
          <dgm:chMax val="7"/>
          <dgm:chPref val="7"/>
          <dgm:dir/>
        </dgm:presLayoutVars>
      </dgm:prSet>
      <dgm:spPr/>
    </dgm:pt>
    <dgm:pt modelId="{273B280E-1BD5-4593-8DF0-DAE336CEE953}" type="pres">
      <dgm:prSet presAssocID="{AD7C43FE-A604-4E79-9E9B-2CC5EAC53EF8}" presName="Name1" presStyleCnt="0"/>
      <dgm:spPr/>
    </dgm:pt>
    <dgm:pt modelId="{377D6ADB-5F6A-4990-A9CE-63BD526967EC}" type="pres">
      <dgm:prSet presAssocID="{AD7C43FE-A604-4E79-9E9B-2CC5EAC53EF8}" presName="cycle" presStyleCnt="0"/>
      <dgm:spPr/>
    </dgm:pt>
    <dgm:pt modelId="{6B3F69FF-5C3F-4431-9BAE-A57C9453C9AC}" type="pres">
      <dgm:prSet presAssocID="{AD7C43FE-A604-4E79-9E9B-2CC5EAC53EF8}" presName="srcNode" presStyleLbl="node1" presStyleIdx="0" presStyleCnt="4"/>
      <dgm:spPr/>
    </dgm:pt>
    <dgm:pt modelId="{8A920527-77F7-414E-9DB1-697455E5B105}" type="pres">
      <dgm:prSet presAssocID="{AD7C43FE-A604-4E79-9E9B-2CC5EAC53EF8}" presName="conn" presStyleLbl="parChTrans1D2" presStyleIdx="0" presStyleCnt="1"/>
      <dgm:spPr/>
    </dgm:pt>
    <dgm:pt modelId="{019A7748-B67E-452F-AA49-1C6970FD2F77}" type="pres">
      <dgm:prSet presAssocID="{AD7C43FE-A604-4E79-9E9B-2CC5EAC53EF8}" presName="extraNode" presStyleLbl="node1" presStyleIdx="0" presStyleCnt="4"/>
      <dgm:spPr/>
    </dgm:pt>
    <dgm:pt modelId="{D2F8E4DC-F2F2-4AA2-A898-75819450385B}" type="pres">
      <dgm:prSet presAssocID="{AD7C43FE-A604-4E79-9E9B-2CC5EAC53EF8}" presName="dstNode" presStyleLbl="node1" presStyleIdx="0" presStyleCnt="4"/>
      <dgm:spPr/>
    </dgm:pt>
    <dgm:pt modelId="{33F13BB2-0308-4799-A9F6-12A42F4A16FF}" type="pres">
      <dgm:prSet presAssocID="{C2DC9013-0465-4EEA-8C36-53D10A8A2C56}" presName="text_1" presStyleLbl="node1" presStyleIdx="0" presStyleCnt="4">
        <dgm:presLayoutVars>
          <dgm:bulletEnabled val="1"/>
        </dgm:presLayoutVars>
      </dgm:prSet>
      <dgm:spPr/>
    </dgm:pt>
    <dgm:pt modelId="{A9F32643-AE7E-4761-938F-FB5B978B1B7C}" type="pres">
      <dgm:prSet presAssocID="{C2DC9013-0465-4EEA-8C36-53D10A8A2C56}" presName="accent_1" presStyleCnt="0"/>
      <dgm:spPr/>
    </dgm:pt>
    <dgm:pt modelId="{DF6AB6A9-0BF3-424F-999C-E7E99FFC2D7B}" type="pres">
      <dgm:prSet presAssocID="{C2DC9013-0465-4EEA-8C36-53D10A8A2C56}" presName="accentRepeatNode" presStyleLbl="solidFgAcc1" presStyleIdx="0" presStyleCnt="4"/>
      <dgm:spPr/>
    </dgm:pt>
    <dgm:pt modelId="{D80E1A49-7E33-4129-B774-C632267BA0FE}" type="pres">
      <dgm:prSet presAssocID="{A3AC7806-DA4B-4A97-872D-BF1076AE8F33}" presName="text_2" presStyleLbl="node1" presStyleIdx="1" presStyleCnt="4">
        <dgm:presLayoutVars>
          <dgm:bulletEnabled val="1"/>
        </dgm:presLayoutVars>
      </dgm:prSet>
      <dgm:spPr/>
    </dgm:pt>
    <dgm:pt modelId="{DA5EC552-6071-4D43-9B2C-B446F4F026BD}" type="pres">
      <dgm:prSet presAssocID="{A3AC7806-DA4B-4A97-872D-BF1076AE8F33}" presName="accent_2" presStyleCnt="0"/>
      <dgm:spPr/>
    </dgm:pt>
    <dgm:pt modelId="{CBFF5DF8-0A2A-4261-A5D2-325239C5EF76}" type="pres">
      <dgm:prSet presAssocID="{A3AC7806-DA4B-4A97-872D-BF1076AE8F33}" presName="accentRepeatNode" presStyleLbl="solidFgAcc1" presStyleIdx="1" presStyleCnt="4"/>
      <dgm:spPr/>
    </dgm:pt>
    <dgm:pt modelId="{C7D1D566-7089-4CAF-AB29-22809268AE65}" type="pres">
      <dgm:prSet presAssocID="{06C2EE44-115C-4101-A40E-34375BDFFCBA}" presName="text_3" presStyleLbl="node1" presStyleIdx="2" presStyleCnt="4">
        <dgm:presLayoutVars>
          <dgm:bulletEnabled val="1"/>
        </dgm:presLayoutVars>
      </dgm:prSet>
      <dgm:spPr/>
    </dgm:pt>
    <dgm:pt modelId="{619EC432-8C94-4089-83C5-6C75BBA4E049}" type="pres">
      <dgm:prSet presAssocID="{06C2EE44-115C-4101-A40E-34375BDFFCBA}" presName="accent_3" presStyleCnt="0"/>
      <dgm:spPr/>
    </dgm:pt>
    <dgm:pt modelId="{C1579373-3282-4211-8404-34D6BE6B1E43}" type="pres">
      <dgm:prSet presAssocID="{06C2EE44-115C-4101-A40E-34375BDFFCBA}" presName="accentRepeatNode" presStyleLbl="solidFgAcc1" presStyleIdx="2" presStyleCnt="4"/>
      <dgm:spPr/>
    </dgm:pt>
    <dgm:pt modelId="{4DC92327-AFFA-4A87-8B9C-73EE242DD2E5}" type="pres">
      <dgm:prSet presAssocID="{B98F1951-A6F5-4608-8DF2-96A28752249A}" presName="text_4" presStyleLbl="node1" presStyleIdx="3" presStyleCnt="4">
        <dgm:presLayoutVars>
          <dgm:bulletEnabled val="1"/>
        </dgm:presLayoutVars>
      </dgm:prSet>
      <dgm:spPr/>
    </dgm:pt>
    <dgm:pt modelId="{2BE3A8F7-DBFC-4E62-B84A-95097FE73896}" type="pres">
      <dgm:prSet presAssocID="{B98F1951-A6F5-4608-8DF2-96A28752249A}" presName="accent_4" presStyleCnt="0"/>
      <dgm:spPr/>
    </dgm:pt>
    <dgm:pt modelId="{743B5E75-F133-4C0D-B03C-A96CAD1B81B7}" type="pres">
      <dgm:prSet presAssocID="{B98F1951-A6F5-4608-8DF2-96A28752249A}" presName="accentRepeatNode" presStyleLbl="solidFgAcc1" presStyleIdx="3" presStyleCnt="4"/>
      <dgm:spPr/>
    </dgm:pt>
  </dgm:ptLst>
  <dgm:cxnLst>
    <dgm:cxn modelId="{C635B619-3D82-4F61-A57B-96E915AFAEBB}" srcId="{AD7C43FE-A604-4E79-9E9B-2CC5EAC53EF8}" destId="{A3AC7806-DA4B-4A97-872D-BF1076AE8F33}" srcOrd="1" destOrd="0" parTransId="{8C1B1F10-38E0-4247-B5E1-66854512EA16}" sibTransId="{35587AE5-C642-457F-877F-8EDE15BA100E}"/>
    <dgm:cxn modelId="{B71CC131-9611-41CD-87DE-99192597541D}" type="presOf" srcId="{A3AC7806-DA4B-4A97-872D-BF1076AE8F33}" destId="{D80E1A49-7E33-4129-B774-C632267BA0FE}" srcOrd="0" destOrd="0" presId="urn:microsoft.com/office/officeart/2008/layout/VerticalCurvedList"/>
    <dgm:cxn modelId="{0FE8D25D-E785-49E9-A214-8AD5CFE9C728}" type="presOf" srcId="{06C2EE44-115C-4101-A40E-34375BDFFCBA}" destId="{C7D1D566-7089-4CAF-AB29-22809268AE65}" srcOrd="0" destOrd="0" presId="urn:microsoft.com/office/officeart/2008/layout/VerticalCurvedList"/>
    <dgm:cxn modelId="{F500F36A-CF8C-4261-99C0-22004D6C0054}" type="presOf" srcId="{C2DC9013-0465-4EEA-8C36-53D10A8A2C56}" destId="{33F13BB2-0308-4799-A9F6-12A42F4A16FF}" srcOrd="0" destOrd="0" presId="urn:microsoft.com/office/officeart/2008/layout/VerticalCurvedList"/>
    <dgm:cxn modelId="{4F695175-A9BC-4A90-9E55-63515F4C1F15}" srcId="{AD7C43FE-A604-4E79-9E9B-2CC5EAC53EF8}" destId="{B98F1951-A6F5-4608-8DF2-96A28752249A}" srcOrd="3" destOrd="0" parTransId="{E6BD5EBC-7F45-48CC-82B7-3728D634DA3E}" sibTransId="{5A2B7FC2-2F81-4051-9C19-FA9955FBBBCB}"/>
    <dgm:cxn modelId="{2317B292-7F7B-4A67-ACAD-3FCD9104A1FE}" srcId="{AD7C43FE-A604-4E79-9E9B-2CC5EAC53EF8}" destId="{06C2EE44-115C-4101-A40E-34375BDFFCBA}" srcOrd="2" destOrd="0" parTransId="{41CAE056-E7EF-451C-99CE-E8E20C527F93}" sibTransId="{1EAD9147-97A1-446A-AC24-837AD0A6894A}"/>
    <dgm:cxn modelId="{B36A00BC-6AEA-4E21-8FEA-D21DEF6FF941}" type="presOf" srcId="{B98F1951-A6F5-4608-8DF2-96A28752249A}" destId="{4DC92327-AFFA-4A87-8B9C-73EE242DD2E5}" srcOrd="0" destOrd="0" presId="urn:microsoft.com/office/officeart/2008/layout/VerticalCurvedList"/>
    <dgm:cxn modelId="{121E40C0-F2E7-4262-83A6-142317D66EEC}" srcId="{AD7C43FE-A604-4E79-9E9B-2CC5EAC53EF8}" destId="{C2DC9013-0465-4EEA-8C36-53D10A8A2C56}" srcOrd="0" destOrd="0" parTransId="{EBA534E3-B75A-4E0F-9103-1D13B8EF8C75}" sibTransId="{69BD7140-E12D-4500-9797-A397F9561D55}"/>
    <dgm:cxn modelId="{604336E3-82E0-4B48-B326-4F5F4786B32B}" type="presOf" srcId="{69BD7140-E12D-4500-9797-A397F9561D55}" destId="{8A920527-77F7-414E-9DB1-697455E5B105}" srcOrd="0" destOrd="0" presId="urn:microsoft.com/office/officeart/2008/layout/VerticalCurvedList"/>
    <dgm:cxn modelId="{82DFA8F4-DCCB-4EBC-A352-E081A1624A54}" type="presOf" srcId="{AD7C43FE-A604-4E79-9E9B-2CC5EAC53EF8}" destId="{F6954B43-15A1-402F-81C0-C8492E79307E}" srcOrd="0" destOrd="0" presId="urn:microsoft.com/office/officeart/2008/layout/VerticalCurvedList"/>
    <dgm:cxn modelId="{38DD78D1-F15A-4850-88EC-33F234CBFC85}" type="presParOf" srcId="{F6954B43-15A1-402F-81C0-C8492E79307E}" destId="{273B280E-1BD5-4593-8DF0-DAE336CEE953}" srcOrd="0" destOrd="0" presId="urn:microsoft.com/office/officeart/2008/layout/VerticalCurvedList"/>
    <dgm:cxn modelId="{4EE1A92A-6134-4F46-B79F-12FEB2519630}" type="presParOf" srcId="{273B280E-1BD5-4593-8DF0-DAE336CEE953}" destId="{377D6ADB-5F6A-4990-A9CE-63BD526967EC}" srcOrd="0" destOrd="0" presId="urn:microsoft.com/office/officeart/2008/layout/VerticalCurvedList"/>
    <dgm:cxn modelId="{B654826A-C02D-490C-B3F3-B0A1D0D8444C}" type="presParOf" srcId="{377D6ADB-5F6A-4990-A9CE-63BD526967EC}" destId="{6B3F69FF-5C3F-4431-9BAE-A57C9453C9AC}" srcOrd="0" destOrd="0" presId="urn:microsoft.com/office/officeart/2008/layout/VerticalCurvedList"/>
    <dgm:cxn modelId="{D293FFDE-7DE1-46FE-A5C9-7307A69CAAF0}" type="presParOf" srcId="{377D6ADB-5F6A-4990-A9CE-63BD526967EC}" destId="{8A920527-77F7-414E-9DB1-697455E5B105}" srcOrd="1" destOrd="0" presId="urn:microsoft.com/office/officeart/2008/layout/VerticalCurvedList"/>
    <dgm:cxn modelId="{04DF8D9F-5EA3-4FD7-9ADC-E8BDEEB1501C}" type="presParOf" srcId="{377D6ADB-5F6A-4990-A9CE-63BD526967EC}" destId="{019A7748-B67E-452F-AA49-1C6970FD2F77}" srcOrd="2" destOrd="0" presId="urn:microsoft.com/office/officeart/2008/layout/VerticalCurvedList"/>
    <dgm:cxn modelId="{5F1B7BDF-C00B-4DA4-83D6-BA4C7B494072}" type="presParOf" srcId="{377D6ADB-5F6A-4990-A9CE-63BD526967EC}" destId="{D2F8E4DC-F2F2-4AA2-A898-75819450385B}" srcOrd="3" destOrd="0" presId="urn:microsoft.com/office/officeart/2008/layout/VerticalCurvedList"/>
    <dgm:cxn modelId="{486992CF-8AAC-468B-984D-BCA034D5C720}" type="presParOf" srcId="{273B280E-1BD5-4593-8DF0-DAE336CEE953}" destId="{33F13BB2-0308-4799-A9F6-12A42F4A16FF}" srcOrd="1" destOrd="0" presId="urn:microsoft.com/office/officeart/2008/layout/VerticalCurvedList"/>
    <dgm:cxn modelId="{D3F6B41F-D19F-4B83-8E5A-2C6B90AE6D53}" type="presParOf" srcId="{273B280E-1BD5-4593-8DF0-DAE336CEE953}" destId="{A9F32643-AE7E-4761-938F-FB5B978B1B7C}" srcOrd="2" destOrd="0" presId="urn:microsoft.com/office/officeart/2008/layout/VerticalCurvedList"/>
    <dgm:cxn modelId="{5DDF4863-FA7C-408B-8AB7-CD8CB6A94724}" type="presParOf" srcId="{A9F32643-AE7E-4761-938F-FB5B978B1B7C}" destId="{DF6AB6A9-0BF3-424F-999C-E7E99FFC2D7B}" srcOrd="0" destOrd="0" presId="urn:microsoft.com/office/officeart/2008/layout/VerticalCurvedList"/>
    <dgm:cxn modelId="{7187D396-A7B3-40BC-AB5C-0EBE962C0D5A}" type="presParOf" srcId="{273B280E-1BD5-4593-8DF0-DAE336CEE953}" destId="{D80E1A49-7E33-4129-B774-C632267BA0FE}" srcOrd="3" destOrd="0" presId="urn:microsoft.com/office/officeart/2008/layout/VerticalCurvedList"/>
    <dgm:cxn modelId="{7E7EEBD8-B8D5-4F36-8E22-E7C9B973FAF7}" type="presParOf" srcId="{273B280E-1BD5-4593-8DF0-DAE336CEE953}" destId="{DA5EC552-6071-4D43-9B2C-B446F4F026BD}" srcOrd="4" destOrd="0" presId="urn:microsoft.com/office/officeart/2008/layout/VerticalCurvedList"/>
    <dgm:cxn modelId="{01C6690B-1011-4B83-AE20-A9072BDB0812}" type="presParOf" srcId="{DA5EC552-6071-4D43-9B2C-B446F4F026BD}" destId="{CBFF5DF8-0A2A-4261-A5D2-325239C5EF76}" srcOrd="0" destOrd="0" presId="urn:microsoft.com/office/officeart/2008/layout/VerticalCurvedList"/>
    <dgm:cxn modelId="{83E40531-7468-403A-81D1-7070DBB9E707}" type="presParOf" srcId="{273B280E-1BD5-4593-8DF0-DAE336CEE953}" destId="{C7D1D566-7089-4CAF-AB29-22809268AE65}" srcOrd="5" destOrd="0" presId="urn:microsoft.com/office/officeart/2008/layout/VerticalCurvedList"/>
    <dgm:cxn modelId="{40D7E1B8-56D4-4EE3-A5B4-B65F317BC0F0}" type="presParOf" srcId="{273B280E-1BD5-4593-8DF0-DAE336CEE953}" destId="{619EC432-8C94-4089-83C5-6C75BBA4E049}" srcOrd="6" destOrd="0" presId="urn:microsoft.com/office/officeart/2008/layout/VerticalCurvedList"/>
    <dgm:cxn modelId="{956D16C1-B767-47A4-BD8B-DBAEBF34527A}" type="presParOf" srcId="{619EC432-8C94-4089-83C5-6C75BBA4E049}" destId="{C1579373-3282-4211-8404-34D6BE6B1E43}" srcOrd="0" destOrd="0" presId="urn:microsoft.com/office/officeart/2008/layout/VerticalCurvedList"/>
    <dgm:cxn modelId="{DDC10CBA-DB2E-4A92-ACC3-C2951376C1A2}" type="presParOf" srcId="{273B280E-1BD5-4593-8DF0-DAE336CEE953}" destId="{4DC92327-AFFA-4A87-8B9C-73EE242DD2E5}" srcOrd="7" destOrd="0" presId="urn:microsoft.com/office/officeart/2008/layout/VerticalCurvedList"/>
    <dgm:cxn modelId="{859658AF-A052-414C-A463-71B46BE01B25}" type="presParOf" srcId="{273B280E-1BD5-4593-8DF0-DAE336CEE953}" destId="{2BE3A8F7-DBFC-4E62-B84A-95097FE73896}" srcOrd="8" destOrd="0" presId="urn:microsoft.com/office/officeart/2008/layout/VerticalCurvedList"/>
    <dgm:cxn modelId="{64F28F6E-CB12-4877-A5AC-1B2CFC377B52}" type="presParOf" srcId="{2BE3A8F7-DBFC-4E62-B84A-95097FE73896}" destId="{743B5E75-F133-4C0D-B03C-A96CAD1B81B7}"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9C74A97-C923-48DE-99EB-877F28A46A5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41970DF-7D36-434F-A10B-AE8DE451C377}">
      <dgm:prSet/>
      <dgm:spPr/>
      <dgm:t>
        <a:bodyPr/>
        <a:lstStyle/>
        <a:p>
          <a:r>
            <a:rPr lang="en-GB" baseline="0"/>
            <a:t>Header</a:t>
          </a:r>
          <a:endParaRPr lang="en-US"/>
        </a:p>
      </dgm:t>
    </dgm:pt>
    <dgm:pt modelId="{9888161F-DE49-495B-ACD5-0A0B9628CCF3}" type="parTrans" cxnId="{3FFA6641-4C10-4F82-887B-F000F968E46E}">
      <dgm:prSet/>
      <dgm:spPr/>
      <dgm:t>
        <a:bodyPr/>
        <a:lstStyle/>
        <a:p>
          <a:endParaRPr lang="en-US"/>
        </a:p>
      </dgm:t>
    </dgm:pt>
    <dgm:pt modelId="{854D1A8C-8030-4B5D-AB32-3F242905DCCA}" type="sibTrans" cxnId="{3FFA6641-4C10-4F82-887B-F000F968E46E}">
      <dgm:prSet/>
      <dgm:spPr/>
      <dgm:t>
        <a:bodyPr/>
        <a:lstStyle/>
        <a:p>
          <a:endParaRPr lang="en-US"/>
        </a:p>
      </dgm:t>
    </dgm:pt>
    <dgm:pt modelId="{08A60402-9505-4019-BB55-CAEFE0F89A9D}">
      <dgm:prSet/>
      <dgm:spPr/>
      <dgm:t>
        <a:bodyPr/>
        <a:lstStyle/>
        <a:p>
          <a:r>
            <a:rPr lang="en-GB" baseline="0"/>
            <a:t>Number of rows sampled</a:t>
          </a:r>
          <a:endParaRPr lang="en-US"/>
        </a:p>
      </dgm:t>
    </dgm:pt>
    <dgm:pt modelId="{5166F925-7521-483A-A232-6E3CAF7439F3}" type="parTrans" cxnId="{AB673D5D-58C9-4A82-A10F-5E7204E5B529}">
      <dgm:prSet/>
      <dgm:spPr/>
      <dgm:t>
        <a:bodyPr/>
        <a:lstStyle/>
        <a:p>
          <a:endParaRPr lang="en-US"/>
        </a:p>
      </dgm:t>
    </dgm:pt>
    <dgm:pt modelId="{82B85FBA-B47C-4E45-8A78-F5E8BD01D669}" type="sibTrans" cxnId="{AB673D5D-58C9-4A82-A10F-5E7204E5B529}">
      <dgm:prSet/>
      <dgm:spPr/>
      <dgm:t>
        <a:bodyPr/>
        <a:lstStyle/>
        <a:p>
          <a:endParaRPr lang="en-US"/>
        </a:p>
      </dgm:t>
    </dgm:pt>
    <dgm:pt modelId="{ACC1B169-B2BF-46D9-9F79-B0B219163FCF}">
      <dgm:prSet/>
      <dgm:spPr/>
      <dgm:t>
        <a:bodyPr/>
        <a:lstStyle/>
        <a:p>
          <a:r>
            <a:rPr lang="en-GB" baseline="0"/>
            <a:t>Date of sampling</a:t>
          </a:r>
          <a:endParaRPr lang="en-US"/>
        </a:p>
      </dgm:t>
    </dgm:pt>
    <dgm:pt modelId="{41E7F95C-9509-4F0E-997F-E4CD0A044E1F}" type="parTrans" cxnId="{24B1E1AA-441C-4C0C-B438-25BD43069EBD}">
      <dgm:prSet/>
      <dgm:spPr/>
      <dgm:t>
        <a:bodyPr/>
        <a:lstStyle/>
        <a:p>
          <a:endParaRPr lang="en-US"/>
        </a:p>
      </dgm:t>
    </dgm:pt>
    <dgm:pt modelId="{64CB55BD-2FFA-4B9A-AEE2-4B6C8781C4A4}" type="sibTrans" cxnId="{24B1E1AA-441C-4C0C-B438-25BD43069EBD}">
      <dgm:prSet/>
      <dgm:spPr/>
      <dgm:t>
        <a:bodyPr/>
        <a:lstStyle/>
        <a:p>
          <a:endParaRPr lang="en-US"/>
        </a:p>
      </dgm:t>
    </dgm:pt>
    <dgm:pt modelId="{C6AD9D52-BE24-4095-AF56-C8608B9146F1}">
      <dgm:prSet/>
      <dgm:spPr/>
      <dgm:t>
        <a:bodyPr/>
        <a:lstStyle/>
        <a:p>
          <a:r>
            <a:rPr lang="en-GB" baseline="0"/>
            <a:t>Density Vector</a:t>
          </a:r>
          <a:endParaRPr lang="en-US"/>
        </a:p>
      </dgm:t>
    </dgm:pt>
    <dgm:pt modelId="{80068DEB-6D14-48BC-B717-B9C13F027824}" type="parTrans" cxnId="{054B5696-DB7F-44DF-8245-0AE5011D8DC7}">
      <dgm:prSet/>
      <dgm:spPr/>
      <dgm:t>
        <a:bodyPr/>
        <a:lstStyle/>
        <a:p>
          <a:endParaRPr lang="en-US"/>
        </a:p>
      </dgm:t>
    </dgm:pt>
    <dgm:pt modelId="{9AB82681-D509-498B-B52C-2D437AF99BEC}" type="sibTrans" cxnId="{054B5696-DB7F-44DF-8245-0AE5011D8DC7}">
      <dgm:prSet/>
      <dgm:spPr/>
      <dgm:t>
        <a:bodyPr/>
        <a:lstStyle/>
        <a:p>
          <a:endParaRPr lang="en-US"/>
        </a:p>
      </dgm:t>
    </dgm:pt>
    <dgm:pt modelId="{AE90CD0D-7958-406C-B41E-C3774B35909B}">
      <dgm:prSet/>
      <dgm:spPr/>
      <dgm:t>
        <a:bodyPr/>
        <a:lstStyle/>
        <a:p>
          <a:r>
            <a:rPr lang="en-GB" baseline="0"/>
            <a:t>Measures the uniqueness of a column or set of columns</a:t>
          </a:r>
          <a:endParaRPr lang="en-US"/>
        </a:p>
      </dgm:t>
    </dgm:pt>
    <dgm:pt modelId="{C037A077-7D82-405F-BDF5-1A4AD81A21BE}" type="parTrans" cxnId="{02FE1D7B-EECF-4019-9253-846D82C083DC}">
      <dgm:prSet/>
      <dgm:spPr/>
      <dgm:t>
        <a:bodyPr/>
        <a:lstStyle/>
        <a:p>
          <a:endParaRPr lang="en-US"/>
        </a:p>
      </dgm:t>
    </dgm:pt>
    <dgm:pt modelId="{9A530C1E-0CD1-4184-8D02-9D21E12922DA}" type="sibTrans" cxnId="{02FE1D7B-EECF-4019-9253-846D82C083DC}">
      <dgm:prSet/>
      <dgm:spPr/>
      <dgm:t>
        <a:bodyPr/>
        <a:lstStyle/>
        <a:p>
          <a:endParaRPr lang="en-US"/>
        </a:p>
      </dgm:t>
    </dgm:pt>
    <dgm:pt modelId="{73D25624-6749-4BF6-A24B-C11F9B363B8C}">
      <dgm:prSet/>
      <dgm:spPr/>
      <dgm:t>
        <a:bodyPr/>
        <a:lstStyle/>
        <a:p>
          <a:r>
            <a:rPr lang="en-GB" baseline="0" dirty="0"/>
            <a:t>The lower the density value the higher the uniqueness in the table</a:t>
          </a:r>
          <a:endParaRPr lang="en-US" dirty="0"/>
        </a:p>
      </dgm:t>
    </dgm:pt>
    <dgm:pt modelId="{68CFC882-4600-40B1-9874-FB577BA3D167}" type="parTrans" cxnId="{1AD30892-AFDF-4BBE-AB59-C51B8663167A}">
      <dgm:prSet/>
      <dgm:spPr/>
      <dgm:t>
        <a:bodyPr/>
        <a:lstStyle/>
        <a:p>
          <a:endParaRPr lang="en-US"/>
        </a:p>
      </dgm:t>
    </dgm:pt>
    <dgm:pt modelId="{A1F69039-7741-4E8F-A989-5F6D5C1F2B4D}" type="sibTrans" cxnId="{1AD30892-AFDF-4BBE-AB59-C51B8663167A}">
      <dgm:prSet/>
      <dgm:spPr/>
      <dgm:t>
        <a:bodyPr/>
        <a:lstStyle/>
        <a:p>
          <a:endParaRPr lang="en-US"/>
        </a:p>
      </dgm:t>
    </dgm:pt>
    <dgm:pt modelId="{4CD768F8-3F47-4B30-8119-78179149F744}">
      <dgm:prSet/>
      <dgm:spPr/>
      <dgm:t>
        <a:bodyPr/>
        <a:lstStyle/>
        <a:p>
          <a:r>
            <a:rPr lang="en-GB" baseline="0"/>
            <a:t>Histogram</a:t>
          </a:r>
          <a:endParaRPr lang="en-US"/>
        </a:p>
      </dgm:t>
    </dgm:pt>
    <dgm:pt modelId="{D5E49F3E-7E17-417A-8EE0-FAA9FE8B86A8}" type="parTrans" cxnId="{18453FD2-C4AF-47B7-8CC1-1558D90E5579}">
      <dgm:prSet/>
      <dgm:spPr/>
      <dgm:t>
        <a:bodyPr/>
        <a:lstStyle/>
        <a:p>
          <a:endParaRPr lang="en-US"/>
        </a:p>
      </dgm:t>
    </dgm:pt>
    <dgm:pt modelId="{33D98DE2-1960-45EC-8B21-D41B1817857C}" type="sibTrans" cxnId="{18453FD2-C4AF-47B7-8CC1-1558D90E5579}">
      <dgm:prSet/>
      <dgm:spPr/>
      <dgm:t>
        <a:bodyPr/>
        <a:lstStyle/>
        <a:p>
          <a:endParaRPr lang="en-US"/>
        </a:p>
      </dgm:t>
    </dgm:pt>
    <dgm:pt modelId="{B45DE025-683B-40CD-B6B5-E2F92EED9A31}">
      <dgm:prSet/>
      <dgm:spPr/>
      <dgm:t>
        <a:bodyPr/>
        <a:lstStyle/>
        <a:p>
          <a:r>
            <a:rPr lang="en-GB" baseline="0"/>
            <a:t>Distribution &amp; frequency of occurrence for distinct values in a table</a:t>
          </a:r>
          <a:endParaRPr lang="en-US"/>
        </a:p>
      </dgm:t>
    </dgm:pt>
    <dgm:pt modelId="{7A38D551-6A3E-46CD-A32C-6533BCD1AB2C}" type="parTrans" cxnId="{E078A517-C479-496E-9946-D36D16CC7FF4}">
      <dgm:prSet/>
      <dgm:spPr/>
      <dgm:t>
        <a:bodyPr/>
        <a:lstStyle/>
        <a:p>
          <a:endParaRPr lang="en-US"/>
        </a:p>
      </dgm:t>
    </dgm:pt>
    <dgm:pt modelId="{2A6E48A2-9988-4AAE-9B60-09C8EA1171CA}" type="sibTrans" cxnId="{E078A517-C479-496E-9946-D36D16CC7FF4}">
      <dgm:prSet/>
      <dgm:spPr/>
      <dgm:t>
        <a:bodyPr/>
        <a:lstStyle/>
        <a:p>
          <a:endParaRPr lang="en-US"/>
        </a:p>
      </dgm:t>
    </dgm:pt>
    <dgm:pt modelId="{412676BB-5F1C-415F-B5EA-A640E1964593}">
      <dgm:prSet/>
      <dgm:spPr/>
      <dgm:t>
        <a:bodyPr/>
        <a:lstStyle/>
        <a:p>
          <a:r>
            <a:rPr lang="en-GB" baseline="0"/>
            <a:t>Limited to 200 steps or boundary points</a:t>
          </a:r>
          <a:endParaRPr lang="en-US"/>
        </a:p>
      </dgm:t>
    </dgm:pt>
    <dgm:pt modelId="{641A1E01-22CF-41D8-84A6-5A89922AFEE1}" type="parTrans" cxnId="{85BE000B-9890-4B65-A1C4-46E09D16C4CA}">
      <dgm:prSet/>
      <dgm:spPr/>
      <dgm:t>
        <a:bodyPr/>
        <a:lstStyle/>
        <a:p>
          <a:endParaRPr lang="en-US"/>
        </a:p>
      </dgm:t>
    </dgm:pt>
    <dgm:pt modelId="{BE185D28-11AF-496D-ABEC-B8561A3ED839}" type="sibTrans" cxnId="{85BE000B-9890-4B65-A1C4-46E09D16C4CA}">
      <dgm:prSet/>
      <dgm:spPr/>
      <dgm:t>
        <a:bodyPr/>
        <a:lstStyle/>
        <a:p>
          <a:endParaRPr lang="en-US"/>
        </a:p>
      </dgm:t>
    </dgm:pt>
    <dgm:pt modelId="{1DFC6A9B-4AA5-4A9D-8E2D-18841B0E99CF}" type="pres">
      <dgm:prSet presAssocID="{59C74A97-C923-48DE-99EB-877F28A46A59}" presName="linear" presStyleCnt="0">
        <dgm:presLayoutVars>
          <dgm:animLvl val="lvl"/>
          <dgm:resizeHandles val="exact"/>
        </dgm:presLayoutVars>
      </dgm:prSet>
      <dgm:spPr/>
    </dgm:pt>
    <dgm:pt modelId="{DCE4F480-B994-4B4B-A5B9-089A8CAAD788}" type="pres">
      <dgm:prSet presAssocID="{241970DF-7D36-434F-A10B-AE8DE451C377}" presName="parentText" presStyleLbl="node1" presStyleIdx="0" presStyleCnt="3" custLinFactNeighborX="-1840" custLinFactNeighborY="-7755">
        <dgm:presLayoutVars>
          <dgm:chMax val="0"/>
          <dgm:bulletEnabled val="1"/>
        </dgm:presLayoutVars>
      </dgm:prSet>
      <dgm:spPr/>
    </dgm:pt>
    <dgm:pt modelId="{1D0B9853-922F-4123-8E7D-ABD44491D3A9}" type="pres">
      <dgm:prSet presAssocID="{241970DF-7D36-434F-A10B-AE8DE451C377}" presName="childText" presStyleLbl="revTx" presStyleIdx="0" presStyleCnt="3">
        <dgm:presLayoutVars>
          <dgm:bulletEnabled val="1"/>
        </dgm:presLayoutVars>
      </dgm:prSet>
      <dgm:spPr/>
    </dgm:pt>
    <dgm:pt modelId="{86F8FC08-CE6F-4C9C-AD4B-9B881E5284AC}" type="pres">
      <dgm:prSet presAssocID="{C6AD9D52-BE24-4095-AF56-C8608B9146F1}" presName="parentText" presStyleLbl="node1" presStyleIdx="1" presStyleCnt="3">
        <dgm:presLayoutVars>
          <dgm:chMax val="0"/>
          <dgm:bulletEnabled val="1"/>
        </dgm:presLayoutVars>
      </dgm:prSet>
      <dgm:spPr/>
    </dgm:pt>
    <dgm:pt modelId="{A53FAA51-B229-4ADF-AA6A-28EF72E20B14}" type="pres">
      <dgm:prSet presAssocID="{C6AD9D52-BE24-4095-AF56-C8608B9146F1}" presName="childText" presStyleLbl="revTx" presStyleIdx="1" presStyleCnt="3">
        <dgm:presLayoutVars>
          <dgm:bulletEnabled val="1"/>
        </dgm:presLayoutVars>
      </dgm:prSet>
      <dgm:spPr/>
    </dgm:pt>
    <dgm:pt modelId="{E636F985-F03B-4B32-9DB7-95B4C115533A}" type="pres">
      <dgm:prSet presAssocID="{4CD768F8-3F47-4B30-8119-78179149F744}" presName="parentText" presStyleLbl="node1" presStyleIdx="2" presStyleCnt="3">
        <dgm:presLayoutVars>
          <dgm:chMax val="0"/>
          <dgm:bulletEnabled val="1"/>
        </dgm:presLayoutVars>
      </dgm:prSet>
      <dgm:spPr/>
    </dgm:pt>
    <dgm:pt modelId="{83D88B04-A0B0-417F-9705-75D37EFAC14C}" type="pres">
      <dgm:prSet presAssocID="{4CD768F8-3F47-4B30-8119-78179149F744}" presName="childText" presStyleLbl="revTx" presStyleIdx="2" presStyleCnt="3">
        <dgm:presLayoutVars>
          <dgm:bulletEnabled val="1"/>
        </dgm:presLayoutVars>
      </dgm:prSet>
      <dgm:spPr/>
    </dgm:pt>
  </dgm:ptLst>
  <dgm:cxnLst>
    <dgm:cxn modelId="{85BE000B-9890-4B65-A1C4-46E09D16C4CA}" srcId="{4CD768F8-3F47-4B30-8119-78179149F744}" destId="{412676BB-5F1C-415F-B5EA-A640E1964593}" srcOrd="1" destOrd="0" parTransId="{641A1E01-22CF-41D8-84A6-5A89922AFEE1}" sibTransId="{BE185D28-11AF-496D-ABEC-B8561A3ED839}"/>
    <dgm:cxn modelId="{24169417-D7B3-46F2-8B36-A3C50EBD87A4}" type="presOf" srcId="{B45DE025-683B-40CD-B6B5-E2F92EED9A31}" destId="{83D88B04-A0B0-417F-9705-75D37EFAC14C}" srcOrd="0" destOrd="0" presId="urn:microsoft.com/office/officeart/2005/8/layout/vList2"/>
    <dgm:cxn modelId="{E078A517-C479-496E-9946-D36D16CC7FF4}" srcId="{4CD768F8-3F47-4B30-8119-78179149F744}" destId="{B45DE025-683B-40CD-B6B5-E2F92EED9A31}" srcOrd="0" destOrd="0" parTransId="{7A38D551-6A3E-46CD-A32C-6533BCD1AB2C}" sibTransId="{2A6E48A2-9988-4AAE-9B60-09C8EA1171CA}"/>
    <dgm:cxn modelId="{8CF0FC26-C6FF-4605-BBCA-597B104E10DA}" type="presOf" srcId="{412676BB-5F1C-415F-B5EA-A640E1964593}" destId="{83D88B04-A0B0-417F-9705-75D37EFAC14C}" srcOrd="0" destOrd="1" presId="urn:microsoft.com/office/officeart/2005/8/layout/vList2"/>
    <dgm:cxn modelId="{7C5D0B2D-15B8-4476-A109-ADD0BBD076E1}" type="presOf" srcId="{08A60402-9505-4019-BB55-CAEFE0F89A9D}" destId="{1D0B9853-922F-4123-8E7D-ABD44491D3A9}" srcOrd="0" destOrd="0" presId="urn:microsoft.com/office/officeart/2005/8/layout/vList2"/>
    <dgm:cxn modelId="{AB673D5D-58C9-4A82-A10F-5E7204E5B529}" srcId="{241970DF-7D36-434F-A10B-AE8DE451C377}" destId="{08A60402-9505-4019-BB55-CAEFE0F89A9D}" srcOrd="0" destOrd="0" parTransId="{5166F925-7521-483A-A232-6E3CAF7439F3}" sibTransId="{82B85FBA-B47C-4E45-8A78-F5E8BD01D669}"/>
    <dgm:cxn modelId="{3FFA6641-4C10-4F82-887B-F000F968E46E}" srcId="{59C74A97-C923-48DE-99EB-877F28A46A59}" destId="{241970DF-7D36-434F-A10B-AE8DE451C377}" srcOrd="0" destOrd="0" parTransId="{9888161F-DE49-495B-ACD5-0A0B9628CCF3}" sibTransId="{854D1A8C-8030-4B5D-AB32-3F242905DCCA}"/>
    <dgm:cxn modelId="{72A5B36D-2805-427A-A490-F8A4A604D617}" type="presOf" srcId="{C6AD9D52-BE24-4095-AF56-C8608B9146F1}" destId="{86F8FC08-CE6F-4C9C-AD4B-9B881E5284AC}" srcOrd="0" destOrd="0" presId="urn:microsoft.com/office/officeart/2005/8/layout/vList2"/>
    <dgm:cxn modelId="{72E2544F-F9B1-4B59-8287-7BC1F7EBE8C6}" type="presOf" srcId="{241970DF-7D36-434F-A10B-AE8DE451C377}" destId="{DCE4F480-B994-4B4B-A5B9-089A8CAAD788}" srcOrd="0" destOrd="0" presId="urn:microsoft.com/office/officeart/2005/8/layout/vList2"/>
    <dgm:cxn modelId="{AF46B878-7495-4D4B-A4DB-E08EF716D97A}" type="presOf" srcId="{73D25624-6749-4BF6-A24B-C11F9B363B8C}" destId="{A53FAA51-B229-4ADF-AA6A-28EF72E20B14}" srcOrd="0" destOrd="1" presId="urn:microsoft.com/office/officeart/2005/8/layout/vList2"/>
    <dgm:cxn modelId="{02FE1D7B-EECF-4019-9253-846D82C083DC}" srcId="{C6AD9D52-BE24-4095-AF56-C8608B9146F1}" destId="{AE90CD0D-7958-406C-B41E-C3774B35909B}" srcOrd="0" destOrd="0" parTransId="{C037A077-7D82-405F-BDF5-1A4AD81A21BE}" sibTransId="{9A530C1E-0CD1-4184-8D02-9D21E12922DA}"/>
    <dgm:cxn modelId="{9DE42780-CC76-4EFD-8E8E-8C44FB9274A6}" type="presOf" srcId="{ACC1B169-B2BF-46D9-9F79-B0B219163FCF}" destId="{1D0B9853-922F-4123-8E7D-ABD44491D3A9}" srcOrd="0" destOrd="1" presId="urn:microsoft.com/office/officeart/2005/8/layout/vList2"/>
    <dgm:cxn modelId="{1AD30892-AFDF-4BBE-AB59-C51B8663167A}" srcId="{C6AD9D52-BE24-4095-AF56-C8608B9146F1}" destId="{73D25624-6749-4BF6-A24B-C11F9B363B8C}" srcOrd="1" destOrd="0" parTransId="{68CFC882-4600-40B1-9874-FB577BA3D167}" sibTransId="{A1F69039-7741-4E8F-A989-5F6D5C1F2B4D}"/>
    <dgm:cxn modelId="{C8235F93-C0F1-4EE9-8C64-9B22FB5513BA}" type="presOf" srcId="{AE90CD0D-7958-406C-B41E-C3774B35909B}" destId="{A53FAA51-B229-4ADF-AA6A-28EF72E20B14}" srcOrd="0" destOrd="0" presId="urn:microsoft.com/office/officeart/2005/8/layout/vList2"/>
    <dgm:cxn modelId="{054B5696-DB7F-44DF-8245-0AE5011D8DC7}" srcId="{59C74A97-C923-48DE-99EB-877F28A46A59}" destId="{C6AD9D52-BE24-4095-AF56-C8608B9146F1}" srcOrd="1" destOrd="0" parTransId="{80068DEB-6D14-48BC-B717-B9C13F027824}" sibTransId="{9AB82681-D509-498B-B52C-2D437AF99BEC}"/>
    <dgm:cxn modelId="{CAB8ED98-3C40-4CC2-840C-BDF0BD127A5E}" type="presOf" srcId="{59C74A97-C923-48DE-99EB-877F28A46A59}" destId="{1DFC6A9B-4AA5-4A9D-8E2D-18841B0E99CF}" srcOrd="0" destOrd="0" presId="urn:microsoft.com/office/officeart/2005/8/layout/vList2"/>
    <dgm:cxn modelId="{B36CADA6-16DB-4EF3-8450-856DAD7AE60F}" type="presOf" srcId="{4CD768F8-3F47-4B30-8119-78179149F744}" destId="{E636F985-F03B-4B32-9DB7-95B4C115533A}" srcOrd="0" destOrd="0" presId="urn:microsoft.com/office/officeart/2005/8/layout/vList2"/>
    <dgm:cxn modelId="{24B1E1AA-441C-4C0C-B438-25BD43069EBD}" srcId="{241970DF-7D36-434F-A10B-AE8DE451C377}" destId="{ACC1B169-B2BF-46D9-9F79-B0B219163FCF}" srcOrd="1" destOrd="0" parTransId="{41E7F95C-9509-4F0E-997F-E4CD0A044E1F}" sibTransId="{64CB55BD-2FFA-4B9A-AEE2-4B6C8781C4A4}"/>
    <dgm:cxn modelId="{18453FD2-C4AF-47B7-8CC1-1558D90E5579}" srcId="{59C74A97-C923-48DE-99EB-877F28A46A59}" destId="{4CD768F8-3F47-4B30-8119-78179149F744}" srcOrd="2" destOrd="0" parTransId="{D5E49F3E-7E17-417A-8EE0-FAA9FE8B86A8}" sibTransId="{33D98DE2-1960-45EC-8B21-D41B1817857C}"/>
    <dgm:cxn modelId="{978E29F7-00AA-4797-8E32-76402B83F557}" type="presParOf" srcId="{1DFC6A9B-4AA5-4A9D-8E2D-18841B0E99CF}" destId="{DCE4F480-B994-4B4B-A5B9-089A8CAAD788}" srcOrd="0" destOrd="0" presId="urn:microsoft.com/office/officeart/2005/8/layout/vList2"/>
    <dgm:cxn modelId="{2FCB7E73-86AA-438D-9973-6949B8579AA7}" type="presParOf" srcId="{1DFC6A9B-4AA5-4A9D-8E2D-18841B0E99CF}" destId="{1D0B9853-922F-4123-8E7D-ABD44491D3A9}" srcOrd="1" destOrd="0" presId="urn:microsoft.com/office/officeart/2005/8/layout/vList2"/>
    <dgm:cxn modelId="{88912C50-2951-455C-812C-BD185863D8A8}" type="presParOf" srcId="{1DFC6A9B-4AA5-4A9D-8E2D-18841B0E99CF}" destId="{86F8FC08-CE6F-4C9C-AD4B-9B881E5284AC}" srcOrd="2" destOrd="0" presId="urn:microsoft.com/office/officeart/2005/8/layout/vList2"/>
    <dgm:cxn modelId="{986A8EDD-A3EC-4E2D-8E80-F7993C46571E}" type="presParOf" srcId="{1DFC6A9B-4AA5-4A9D-8E2D-18841B0E99CF}" destId="{A53FAA51-B229-4ADF-AA6A-28EF72E20B14}" srcOrd="3" destOrd="0" presId="urn:microsoft.com/office/officeart/2005/8/layout/vList2"/>
    <dgm:cxn modelId="{2883E184-BD86-43A0-8288-E3D0EC0CDCBD}" type="presParOf" srcId="{1DFC6A9B-4AA5-4A9D-8E2D-18841B0E99CF}" destId="{E636F985-F03B-4B32-9DB7-95B4C115533A}" srcOrd="4" destOrd="0" presId="urn:microsoft.com/office/officeart/2005/8/layout/vList2"/>
    <dgm:cxn modelId="{44AB15A9-449F-4F79-9640-DA3361F3F9EE}" type="presParOf" srcId="{1DFC6A9B-4AA5-4A9D-8E2D-18841B0E99CF}" destId="{83D88B04-A0B0-417F-9705-75D37EFAC14C}"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EF8D1E2-60CF-4196-B7A6-DED287671DFF}"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032F0B0B-659B-4409-8FA5-153A35DA66EC}">
      <dgm:prSet custT="1"/>
      <dgm:spPr/>
      <dgm:t>
        <a:bodyPr/>
        <a:lstStyle/>
        <a:p>
          <a:r>
            <a:rPr lang="en-GB" sz="2000" baseline="0"/>
            <a:t>CREATE STATISTICS</a:t>
          </a:r>
          <a:endParaRPr lang="en-US" sz="2000"/>
        </a:p>
      </dgm:t>
    </dgm:pt>
    <dgm:pt modelId="{C7C30EA6-154D-4F26-8131-8AB7879C6C7F}" type="parTrans" cxnId="{34AF5FC8-D149-43E9-B4E5-38A9DE3473F7}">
      <dgm:prSet/>
      <dgm:spPr/>
      <dgm:t>
        <a:bodyPr/>
        <a:lstStyle/>
        <a:p>
          <a:endParaRPr lang="en-US"/>
        </a:p>
      </dgm:t>
    </dgm:pt>
    <dgm:pt modelId="{CD80AE12-1A20-4DFC-9F04-25DB9680E7DA}" type="sibTrans" cxnId="{34AF5FC8-D149-43E9-B4E5-38A9DE3473F7}">
      <dgm:prSet/>
      <dgm:spPr/>
      <dgm:t>
        <a:bodyPr/>
        <a:lstStyle/>
        <a:p>
          <a:endParaRPr lang="en-US"/>
        </a:p>
      </dgm:t>
    </dgm:pt>
    <dgm:pt modelId="{387CE73E-5943-45F5-B2A2-6F7BE1120C3F}">
      <dgm:prSet custT="1"/>
      <dgm:spPr/>
      <dgm:t>
        <a:bodyPr/>
        <a:lstStyle/>
        <a:p>
          <a:r>
            <a:rPr lang="en-GB" sz="2000" baseline="0"/>
            <a:t>UPDATE STATISTICS</a:t>
          </a:r>
          <a:endParaRPr lang="en-US" sz="2000"/>
        </a:p>
      </dgm:t>
    </dgm:pt>
    <dgm:pt modelId="{07D06286-0FB6-473D-86E0-8014A072269B}" type="parTrans" cxnId="{1E7270E3-39DA-495E-9D06-5A0885BC498F}">
      <dgm:prSet/>
      <dgm:spPr/>
      <dgm:t>
        <a:bodyPr/>
        <a:lstStyle/>
        <a:p>
          <a:endParaRPr lang="en-US"/>
        </a:p>
      </dgm:t>
    </dgm:pt>
    <dgm:pt modelId="{DE7618AB-C3D1-4B02-82BC-187A805C4ADC}" type="sibTrans" cxnId="{1E7270E3-39DA-495E-9D06-5A0885BC498F}">
      <dgm:prSet/>
      <dgm:spPr/>
      <dgm:t>
        <a:bodyPr/>
        <a:lstStyle/>
        <a:p>
          <a:endParaRPr lang="en-US"/>
        </a:p>
      </dgm:t>
    </dgm:pt>
    <dgm:pt modelId="{DD6E12CA-1E6B-483C-BB3A-6B765754A625}">
      <dgm:prSet custT="1"/>
      <dgm:spPr/>
      <dgm:t>
        <a:bodyPr/>
        <a:lstStyle/>
        <a:p>
          <a:r>
            <a:rPr lang="en-GB" sz="2000" baseline="0"/>
            <a:t>DROP STATISTICS</a:t>
          </a:r>
          <a:endParaRPr lang="en-US" sz="2000"/>
        </a:p>
      </dgm:t>
    </dgm:pt>
    <dgm:pt modelId="{22A9F922-8E0E-4C76-A343-B803893D11FF}" type="parTrans" cxnId="{E8031C26-0053-4B13-923A-EF4FC2A85CFB}">
      <dgm:prSet/>
      <dgm:spPr/>
      <dgm:t>
        <a:bodyPr/>
        <a:lstStyle/>
        <a:p>
          <a:endParaRPr lang="en-US"/>
        </a:p>
      </dgm:t>
    </dgm:pt>
    <dgm:pt modelId="{03F59558-2C7F-4E2E-99AD-B3D50EEBC804}" type="sibTrans" cxnId="{E8031C26-0053-4B13-923A-EF4FC2A85CFB}">
      <dgm:prSet/>
      <dgm:spPr/>
      <dgm:t>
        <a:bodyPr/>
        <a:lstStyle/>
        <a:p>
          <a:endParaRPr lang="en-US"/>
        </a:p>
      </dgm:t>
    </dgm:pt>
    <dgm:pt modelId="{9E181625-6A97-494F-8D4E-DF7293C3E939}">
      <dgm:prSet custT="1"/>
      <dgm:spPr/>
      <dgm:t>
        <a:bodyPr/>
        <a:lstStyle/>
        <a:p>
          <a:r>
            <a:rPr lang="en-GB" sz="2000" baseline="0" err="1"/>
            <a:t>sys.stats</a:t>
          </a:r>
          <a:endParaRPr lang="en-US" sz="2000"/>
        </a:p>
      </dgm:t>
    </dgm:pt>
    <dgm:pt modelId="{2F4C3F50-8F5E-42E9-A99D-BEDD7A40F8B7}" type="parTrans" cxnId="{9A787B56-0AFD-43F7-B925-C431E67DEB5D}">
      <dgm:prSet/>
      <dgm:spPr/>
      <dgm:t>
        <a:bodyPr/>
        <a:lstStyle/>
        <a:p>
          <a:endParaRPr lang="en-US"/>
        </a:p>
      </dgm:t>
    </dgm:pt>
    <dgm:pt modelId="{BED97CA8-A3FD-4192-B1BD-11E0E2ABA51E}" type="sibTrans" cxnId="{9A787B56-0AFD-43F7-B925-C431E67DEB5D}">
      <dgm:prSet/>
      <dgm:spPr/>
      <dgm:t>
        <a:bodyPr/>
        <a:lstStyle/>
        <a:p>
          <a:endParaRPr lang="en-US"/>
        </a:p>
      </dgm:t>
    </dgm:pt>
    <dgm:pt modelId="{2966C5FF-C57E-4392-9930-ACFC3D019C31}">
      <dgm:prSet custT="1"/>
      <dgm:spPr/>
      <dgm:t>
        <a:bodyPr/>
        <a:lstStyle/>
        <a:p>
          <a:r>
            <a:rPr lang="en-GB" sz="2000" baseline="0" err="1"/>
            <a:t>sys.stats_columns</a:t>
          </a:r>
          <a:endParaRPr lang="en-US" sz="2000"/>
        </a:p>
      </dgm:t>
    </dgm:pt>
    <dgm:pt modelId="{8A14ADA2-A494-4B05-8F20-87F3C5F43D08}" type="parTrans" cxnId="{50264C86-821F-4947-BD0E-A38EAF047920}">
      <dgm:prSet/>
      <dgm:spPr/>
      <dgm:t>
        <a:bodyPr/>
        <a:lstStyle/>
        <a:p>
          <a:endParaRPr lang="en-US"/>
        </a:p>
      </dgm:t>
    </dgm:pt>
    <dgm:pt modelId="{4B61AD21-F290-4923-B561-035F02CB6326}" type="sibTrans" cxnId="{50264C86-821F-4947-BD0E-A38EAF047920}">
      <dgm:prSet/>
      <dgm:spPr/>
      <dgm:t>
        <a:bodyPr/>
        <a:lstStyle/>
        <a:p>
          <a:endParaRPr lang="en-US"/>
        </a:p>
      </dgm:t>
    </dgm:pt>
    <dgm:pt modelId="{EC42BB24-EB4D-4B0B-874D-7C6FC58CFFD7}">
      <dgm:prSet custT="1"/>
      <dgm:spPr/>
      <dgm:t>
        <a:bodyPr/>
        <a:lstStyle/>
        <a:p>
          <a:r>
            <a:rPr lang="en-GB" sz="2000" baseline="0" err="1"/>
            <a:t>sp_statistics</a:t>
          </a:r>
          <a:endParaRPr lang="en-US" sz="2000"/>
        </a:p>
      </dgm:t>
    </dgm:pt>
    <dgm:pt modelId="{EFE87A54-82CD-4A77-B524-B91D587D2487}" type="parTrans" cxnId="{87271996-D519-47F0-9704-B87C1A6EED2A}">
      <dgm:prSet/>
      <dgm:spPr/>
      <dgm:t>
        <a:bodyPr/>
        <a:lstStyle/>
        <a:p>
          <a:endParaRPr lang="en-US"/>
        </a:p>
      </dgm:t>
    </dgm:pt>
    <dgm:pt modelId="{E640B33F-FCCD-4A39-B637-9FB7EBD9A91C}" type="sibTrans" cxnId="{87271996-D519-47F0-9704-B87C1A6EED2A}">
      <dgm:prSet/>
      <dgm:spPr/>
      <dgm:t>
        <a:bodyPr/>
        <a:lstStyle/>
        <a:p>
          <a:endParaRPr lang="en-US"/>
        </a:p>
      </dgm:t>
    </dgm:pt>
    <dgm:pt modelId="{99D5D1C4-F8B0-4815-846D-107E0B2F4481}">
      <dgm:prSet custT="1"/>
      <dgm:spPr/>
      <dgm:t>
        <a:bodyPr/>
        <a:lstStyle/>
        <a:p>
          <a:r>
            <a:rPr lang="en-US" sz="3600"/>
            <a:t>Supported</a:t>
          </a:r>
        </a:p>
      </dgm:t>
    </dgm:pt>
    <dgm:pt modelId="{03DE5881-E1B3-487D-8804-AA820284AA0B}" type="parTrans" cxnId="{40A6D0AC-A182-4022-B369-F40BEA843E89}">
      <dgm:prSet/>
      <dgm:spPr/>
      <dgm:t>
        <a:bodyPr/>
        <a:lstStyle/>
        <a:p>
          <a:endParaRPr lang="en-US"/>
        </a:p>
      </dgm:t>
    </dgm:pt>
    <dgm:pt modelId="{C5623B5D-4DA4-4957-8AAA-31F295486AF0}" type="sibTrans" cxnId="{40A6D0AC-A182-4022-B369-F40BEA843E89}">
      <dgm:prSet/>
      <dgm:spPr/>
      <dgm:t>
        <a:bodyPr/>
        <a:lstStyle/>
        <a:p>
          <a:endParaRPr lang="en-US"/>
        </a:p>
      </dgm:t>
    </dgm:pt>
    <dgm:pt modelId="{8F7CEB6D-E176-4233-B4CA-9E3B7F71D582}">
      <dgm:prSet custT="1"/>
      <dgm:spPr/>
      <dgm:t>
        <a:bodyPr/>
        <a:lstStyle/>
        <a:p>
          <a:r>
            <a:rPr lang="en-US" sz="3600"/>
            <a:t>Unsupported</a:t>
          </a:r>
        </a:p>
      </dgm:t>
    </dgm:pt>
    <dgm:pt modelId="{3A8E4784-7CAB-4A41-893C-296BBA0E5874}" type="parTrans" cxnId="{8875A9A5-CB49-4370-9A0C-218EA381F441}">
      <dgm:prSet/>
      <dgm:spPr/>
      <dgm:t>
        <a:bodyPr/>
        <a:lstStyle/>
        <a:p>
          <a:endParaRPr lang="en-US"/>
        </a:p>
      </dgm:t>
    </dgm:pt>
    <dgm:pt modelId="{F517D635-682E-486F-B29C-CAC6C83B9EA0}" type="sibTrans" cxnId="{8875A9A5-CB49-4370-9A0C-218EA381F441}">
      <dgm:prSet/>
      <dgm:spPr/>
      <dgm:t>
        <a:bodyPr/>
        <a:lstStyle/>
        <a:p>
          <a:endParaRPr lang="en-US"/>
        </a:p>
      </dgm:t>
    </dgm:pt>
    <dgm:pt modelId="{2B4E9E49-F93D-431A-9E60-CF7DBE2BD193}">
      <dgm:prSet custT="1"/>
      <dgm:spPr/>
      <dgm:t>
        <a:bodyPr/>
        <a:lstStyle/>
        <a:p>
          <a:r>
            <a:rPr lang="en-US" sz="2000"/>
            <a:t>Trace Flags</a:t>
          </a:r>
        </a:p>
      </dgm:t>
    </dgm:pt>
    <dgm:pt modelId="{D539A505-4358-4FF0-9771-05E701C54B93}" type="parTrans" cxnId="{9FBC8131-0741-448D-B6ED-F50C884C8BA0}">
      <dgm:prSet/>
      <dgm:spPr/>
      <dgm:t>
        <a:bodyPr/>
        <a:lstStyle/>
        <a:p>
          <a:endParaRPr lang="en-US"/>
        </a:p>
      </dgm:t>
    </dgm:pt>
    <dgm:pt modelId="{1DFBF551-B717-458F-BAD2-F20CDFFB9E10}" type="sibTrans" cxnId="{9FBC8131-0741-448D-B6ED-F50C884C8BA0}">
      <dgm:prSet/>
      <dgm:spPr/>
      <dgm:t>
        <a:bodyPr/>
        <a:lstStyle/>
        <a:p>
          <a:endParaRPr lang="en-US"/>
        </a:p>
      </dgm:t>
    </dgm:pt>
    <dgm:pt modelId="{6DAAED74-99A6-44CD-AEC9-DE8D8E50E9B8}">
      <dgm:prSet custT="1"/>
      <dgm:spPr/>
      <dgm:t>
        <a:bodyPr/>
        <a:lstStyle/>
        <a:p>
          <a:r>
            <a:rPr lang="en-US" sz="2000"/>
            <a:t>Legacy CE Model</a:t>
          </a:r>
        </a:p>
      </dgm:t>
    </dgm:pt>
    <dgm:pt modelId="{390FD921-AFDC-46FA-BA3F-B38B21A59972}" type="parTrans" cxnId="{F5E55CEE-591C-4F44-AC36-96EF99B936A1}">
      <dgm:prSet/>
      <dgm:spPr/>
      <dgm:t>
        <a:bodyPr/>
        <a:lstStyle/>
        <a:p>
          <a:endParaRPr lang="en-US"/>
        </a:p>
      </dgm:t>
    </dgm:pt>
    <dgm:pt modelId="{407C86E4-39AF-4C00-8FA9-6CD5253E8DB0}" type="sibTrans" cxnId="{F5E55CEE-591C-4F44-AC36-96EF99B936A1}">
      <dgm:prSet/>
      <dgm:spPr/>
      <dgm:t>
        <a:bodyPr/>
        <a:lstStyle/>
        <a:p>
          <a:endParaRPr lang="en-US"/>
        </a:p>
      </dgm:t>
    </dgm:pt>
    <dgm:pt modelId="{C7607542-CA00-4217-B875-67557307AE62}" type="pres">
      <dgm:prSet presAssocID="{6EF8D1E2-60CF-4196-B7A6-DED287671DFF}" presName="Name0" presStyleCnt="0">
        <dgm:presLayoutVars>
          <dgm:dir/>
          <dgm:animLvl val="lvl"/>
          <dgm:resizeHandles val="exact"/>
        </dgm:presLayoutVars>
      </dgm:prSet>
      <dgm:spPr/>
    </dgm:pt>
    <dgm:pt modelId="{944AC093-92BD-4B53-914A-ACE4F901367E}" type="pres">
      <dgm:prSet presAssocID="{99D5D1C4-F8B0-4815-846D-107E0B2F4481}" presName="composite" presStyleCnt="0"/>
      <dgm:spPr/>
    </dgm:pt>
    <dgm:pt modelId="{9A8BE6E8-7F35-4423-B248-795E785BAC30}" type="pres">
      <dgm:prSet presAssocID="{99D5D1C4-F8B0-4815-846D-107E0B2F4481}" presName="parTx" presStyleLbl="alignNode1" presStyleIdx="0" presStyleCnt="2" custLinFactNeighborX="-15033" custLinFactNeighborY="-13891">
        <dgm:presLayoutVars>
          <dgm:chMax val="0"/>
          <dgm:chPref val="0"/>
          <dgm:bulletEnabled val="1"/>
        </dgm:presLayoutVars>
      </dgm:prSet>
      <dgm:spPr/>
    </dgm:pt>
    <dgm:pt modelId="{1208BE67-A419-4EEF-923B-972FE171CE09}" type="pres">
      <dgm:prSet presAssocID="{99D5D1C4-F8B0-4815-846D-107E0B2F4481}" presName="desTx" presStyleLbl="alignAccFollowNode1" presStyleIdx="0" presStyleCnt="2">
        <dgm:presLayoutVars>
          <dgm:bulletEnabled val="1"/>
        </dgm:presLayoutVars>
      </dgm:prSet>
      <dgm:spPr/>
    </dgm:pt>
    <dgm:pt modelId="{84E23DC7-F205-4155-A3BF-4533922B235F}" type="pres">
      <dgm:prSet presAssocID="{C5623B5D-4DA4-4957-8AAA-31F295486AF0}" presName="space" presStyleCnt="0"/>
      <dgm:spPr/>
    </dgm:pt>
    <dgm:pt modelId="{AE5AB636-6FD8-4E19-BFF7-BFF501B8C53D}" type="pres">
      <dgm:prSet presAssocID="{8F7CEB6D-E176-4233-B4CA-9E3B7F71D582}" presName="composite" presStyleCnt="0"/>
      <dgm:spPr/>
    </dgm:pt>
    <dgm:pt modelId="{61757F02-7BD9-4ACB-A6A3-874C824E1160}" type="pres">
      <dgm:prSet presAssocID="{8F7CEB6D-E176-4233-B4CA-9E3B7F71D582}" presName="parTx" presStyleLbl="alignNode1" presStyleIdx="1" presStyleCnt="2">
        <dgm:presLayoutVars>
          <dgm:chMax val="0"/>
          <dgm:chPref val="0"/>
          <dgm:bulletEnabled val="1"/>
        </dgm:presLayoutVars>
      </dgm:prSet>
      <dgm:spPr/>
    </dgm:pt>
    <dgm:pt modelId="{7BDF4B25-E589-415D-B79E-B0D0032F4A10}" type="pres">
      <dgm:prSet presAssocID="{8F7CEB6D-E176-4233-B4CA-9E3B7F71D582}" presName="desTx" presStyleLbl="alignAccFollowNode1" presStyleIdx="1" presStyleCnt="2">
        <dgm:presLayoutVars>
          <dgm:bulletEnabled val="1"/>
        </dgm:presLayoutVars>
      </dgm:prSet>
      <dgm:spPr/>
    </dgm:pt>
  </dgm:ptLst>
  <dgm:cxnLst>
    <dgm:cxn modelId="{D45F8302-D208-4A83-97D1-6CBDE8FB38B5}" type="presOf" srcId="{99D5D1C4-F8B0-4815-846D-107E0B2F4481}" destId="{9A8BE6E8-7F35-4423-B248-795E785BAC30}" srcOrd="0" destOrd="0" presId="urn:microsoft.com/office/officeart/2005/8/layout/hList1"/>
    <dgm:cxn modelId="{EF254903-97D8-4B38-B9F7-4D27377ADAE8}" type="presOf" srcId="{6DAAED74-99A6-44CD-AEC9-DE8D8E50E9B8}" destId="{7BDF4B25-E589-415D-B79E-B0D0032F4A10}" srcOrd="0" destOrd="1" presId="urn:microsoft.com/office/officeart/2005/8/layout/hList1"/>
    <dgm:cxn modelId="{ADD1420D-128F-490B-97E5-2418483402C2}" type="presOf" srcId="{387CE73E-5943-45F5-B2A2-6F7BE1120C3F}" destId="{1208BE67-A419-4EEF-923B-972FE171CE09}" srcOrd="0" destOrd="1" presId="urn:microsoft.com/office/officeart/2005/8/layout/hList1"/>
    <dgm:cxn modelId="{6A297012-A695-4CA3-BC25-B55F286D473E}" type="presOf" srcId="{DD6E12CA-1E6B-483C-BB3A-6B765754A625}" destId="{1208BE67-A419-4EEF-923B-972FE171CE09}" srcOrd="0" destOrd="2" presId="urn:microsoft.com/office/officeart/2005/8/layout/hList1"/>
    <dgm:cxn modelId="{8C859523-EC6B-49F9-AB87-FEC9D3261BD6}" type="presOf" srcId="{2B4E9E49-F93D-431A-9E60-CF7DBE2BD193}" destId="{7BDF4B25-E589-415D-B79E-B0D0032F4A10}" srcOrd="0" destOrd="0" presId="urn:microsoft.com/office/officeart/2005/8/layout/hList1"/>
    <dgm:cxn modelId="{E8031C26-0053-4B13-923A-EF4FC2A85CFB}" srcId="{99D5D1C4-F8B0-4815-846D-107E0B2F4481}" destId="{DD6E12CA-1E6B-483C-BB3A-6B765754A625}" srcOrd="2" destOrd="0" parTransId="{22A9F922-8E0E-4C76-A343-B803893D11FF}" sibTransId="{03F59558-2C7F-4E2E-99AD-B3D50EEBC804}"/>
    <dgm:cxn modelId="{4C714830-D782-4B22-82A5-0292EEFAB3AD}" type="presOf" srcId="{EC42BB24-EB4D-4B0B-874D-7C6FC58CFFD7}" destId="{1208BE67-A419-4EEF-923B-972FE171CE09}" srcOrd="0" destOrd="5" presId="urn:microsoft.com/office/officeart/2005/8/layout/hList1"/>
    <dgm:cxn modelId="{9FBC8131-0741-448D-B6ED-F50C884C8BA0}" srcId="{8F7CEB6D-E176-4233-B4CA-9E3B7F71D582}" destId="{2B4E9E49-F93D-431A-9E60-CF7DBE2BD193}" srcOrd="0" destOrd="0" parTransId="{D539A505-4358-4FF0-9771-05E701C54B93}" sibTransId="{1DFBF551-B717-458F-BAD2-F20CDFFB9E10}"/>
    <dgm:cxn modelId="{70ED3A65-6B87-47E4-A632-6B8C6937E9AE}" type="presOf" srcId="{032F0B0B-659B-4409-8FA5-153A35DA66EC}" destId="{1208BE67-A419-4EEF-923B-972FE171CE09}" srcOrd="0" destOrd="0" presId="urn:microsoft.com/office/officeart/2005/8/layout/hList1"/>
    <dgm:cxn modelId="{AE73296B-F7E0-40A8-9D1A-A11B6B4FF919}" type="presOf" srcId="{8F7CEB6D-E176-4233-B4CA-9E3B7F71D582}" destId="{61757F02-7BD9-4ACB-A6A3-874C824E1160}" srcOrd="0" destOrd="0" presId="urn:microsoft.com/office/officeart/2005/8/layout/hList1"/>
    <dgm:cxn modelId="{9A787B56-0AFD-43F7-B925-C431E67DEB5D}" srcId="{99D5D1C4-F8B0-4815-846D-107E0B2F4481}" destId="{9E181625-6A97-494F-8D4E-DF7293C3E939}" srcOrd="3" destOrd="0" parTransId="{2F4C3F50-8F5E-42E9-A99D-BEDD7A40F8B7}" sibTransId="{BED97CA8-A3FD-4192-B1BD-11E0E2ABA51E}"/>
    <dgm:cxn modelId="{50264C86-821F-4947-BD0E-A38EAF047920}" srcId="{99D5D1C4-F8B0-4815-846D-107E0B2F4481}" destId="{2966C5FF-C57E-4392-9930-ACFC3D019C31}" srcOrd="4" destOrd="0" parTransId="{8A14ADA2-A494-4B05-8F20-87F3C5F43D08}" sibTransId="{4B61AD21-F290-4923-B561-035F02CB6326}"/>
    <dgm:cxn modelId="{87271996-D519-47F0-9704-B87C1A6EED2A}" srcId="{99D5D1C4-F8B0-4815-846D-107E0B2F4481}" destId="{EC42BB24-EB4D-4B0B-874D-7C6FC58CFFD7}" srcOrd="5" destOrd="0" parTransId="{EFE87A54-82CD-4A77-B524-B91D587D2487}" sibTransId="{E640B33F-FCCD-4A39-B637-9FB7EBD9A91C}"/>
    <dgm:cxn modelId="{8875A9A5-CB49-4370-9A0C-218EA381F441}" srcId="{6EF8D1E2-60CF-4196-B7A6-DED287671DFF}" destId="{8F7CEB6D-E176-4233-B4CA-9E3B7F71D582}" srcOrd="1" destOrd="0" parTransId="{3A8E4784-7CAB-4A41-893C-296BBA0E5874}" sibTransId="{F517D635-682E-486F-B29C-CAC6C83B9EA0}"/>
    <dgm:cxn modelId="{40A6D0AC-A182-4022-B369-F40BEA843E89}" srcId="{6EF8D1E2-60CF-4196-B7A6-DED287671DFF}" destId="{99D5D1C4-F8B0-4815-846D-107E0B2F4481}" srcOrd="0" destOrd="0" parTransId="{03DE5881-E1B3-487D-8804-AA820284AA0B}" sibTransId="{C5623B5D-4DA4-4957-8AAA-31F295486AF0}"/>
    <dgm:cxn modelId="{EB877DB4-701A-4EBB-8863-8CAA7D4AC124}" type="presOf" srcId="{9E181625-6A97-494F-8D4E-DF7293C3E939}" destId="{1208BE67-A419-4EEF-923B-972FE171CE09}" srcOrd="0" destOrd="3" presId="urn:microsoft.com/office/officeart/2005/8/layout/hList1"/>
    <dgm:cxn modelId="{34AF5FC8-D149-43E9-B4E5-38A9DE3473F7}" srcId="{99D5D1C4-F8B0-4815-846D-107E0B2F4481}" destId="{032F0B0B-659B-4409-8FA5-153A35DA66EC}" srcOrd="0" destOrd="0" parTransId="{C7C30EA6-154D-4F26-8131-8AB7879C6C7F}" sibTransId="{CD80AE12-1A20-4DFC-9F04-25DB9680E7DA}"/>
    <dgm:cxn modelId="{3EF5DFC8-A901-4E4D-84A1-44A4FF6AE262}" type="presOf" srcId="{2966C5FF-C57E-4392-9930-ACFC3D019C31}" destId="{1208BE67-A419-4EEF-923B-972FE171CE09}" srcOrd="0" destOrd="4" presId="urn:microsoft.com/office/officeart/2005/8/layout/hList1"/>
    <dgm:cxn modelId="{1E7270E3-39DA-495E-9D06-5A0885BC498F}" srcId="{99D5D1C4-F8B0-4815-846D-107E0B2F4481}" destId="{387CE73E-5943-45F5-B2A2-6F7BE1120C3F}" srcOrd="1" destOrd="0" parTransId="{07D06286-0FB6-473D-86E0-8014A072269B}" sibTransId="{DE7618AB-C3D1-4B02-82BC-187A805C4ADC}"/>
    <dgm:cxn modelId="{B0C48FEA-821A-466E-86B3-24ACCCCB1418}" type="presOf" srcId="{6EF8D1E2-60CF-4196-B7A6-DED287671DFF}" destId="{C7607542-CA00-4217-B875-67557307AE62}" srcOrd="0" destOrd="0" presId="urn:microsoft.com/office/officeart/2005/8/layout/hList1"/>
    <dgm:cxn modelId="{F5E55CEE-591C-4F44-AC36-96EF99B936A1}" srcId="{8F7CEB6D-E176-4233-B4CA-9E3B7F71D582}" destId="{6DAAED74-99A6-44CD-AEC9-DE8D8E50E9B8}" srcOrd="1" destOrd="0" parTransId="{390FD921-AFDC-46FA-BA3F-B38B21A59972}" sibTransId="{407C86E4-39AF-4C00-8FA9-6CD5253E8DB0}"/>
    <dgm:cxn modelId="{08AC012D-5309-40C3-A650-DB3833614609}" type="presParOf" srcId="{C7607542-CA00-4217-B875-67557307AE62}" destId="{944AC093-92BD-4B53-914A-ACE4F901367E}" srcOrd="0" destOrd="0" presId="urn:microsoft.com/office/officeart/2005/8/layout/hList1"/>
    <dgm:cxn modelId="{251F0532-3E04-4E5C-BD61-51E853DBCF26}" type="presParOf" srcId="{944AC093-92BD-4B53-914A-ACE4F901367E}" destId="{9A8BE6E8-7F35-4423-B248-795E785BAC30}" srcOrd="0" destOrd="0" presId="urn:microsoft.com/office/officeart/2005/8/layout/hList1"/>
    <dgm:cxn modelId="{DFF3855B-F90C-46A8-B174-58C9ACE8E86F}" type="presParOf" srcId="{944AC093-92BD-4B53-914A-ACE4F901367E}" destId="{1208BE67-A419-4EEF-923B-972FE171CE09}" srcOrd="1" destOrd="0" presId="urn:microsoft.com/office/officeart/2005/8/layout/hList1"/>
    <dgm:cxn modelId="{CD3A87C3-32AA-449B-BBA9-1B868976D4DB}" type="presParOf" srcId="{C7607542-CA00-4217-B875-67557307AE62}" destId="{84E23DC7-F205-4155-A3BF-4533922B235F}" srcOrd="1" destOrd="0" presId="urn:microsoft.com/office/officeart/2005/8/layout/hList1"/>
    <dgm:cxn modelId="{0225DBE1-82E6-4AEC-852A-E4F168ED3226}" type="presParOf" srcId="{C7607542-CA00-4217-B875-67557307AE62}" destId="{AE5AB636-6FD8-4E19-BFF7-BFF501B8C53D}" srcOrd="2" destOrd="0" presId="urn:microsoft.com/office/officeart/2005/8/layout/hList1"/>
    <dgm:cxn modelId="{7AB70497-C48A-4479-9FC5-FCE7F34AA7F0}" type="presParOf" srcId="{AE5AB636-6FD8-4E19-BFF7-BFF501B8C53D}" destId="{61757F02-7BD9-4ACB-A6A3-874C824E1160}" srcOrd="0" destOrd="0" presId="urn:microsoft.com/office/officeart/2005/8/layout/hList1"/>
    <dgm:cxn modelId="{EE98F02B-E55F-455E-B980-85828DCDF2F4}" type="presParOf" srcId="{AE5AB636-6FD8-4E19-BFF7-BFF501B8C53D}" destId="{7BDF4B25-E589-415D-B79E-B0D0032F4A1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570FB2D-3618-4FA8-A922-D89A05C7422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88A5909-9F49-47C5-9775-487BB9C33D77}">
      <dgm:prSet/>
      <dgm:spPr/>
      <dgm:t>
        <a:bodyPr/>
        <a:lstStyle/>
        <a:p>
          <a:r>
            <a:rPr lang="en-GB" baseline="0" dirty="0"/>
            <a:t>Auto Create Statistics</a:t>
          </a:r>
          <a:endParaRPr lang="en-US" dirty="0"/>
        </a:p>
      </dgm:t>
    </dgm:pt>
    <dgm:pt modelId="{22D1236B-7E8B-431D-A752-3E89CECBDB23}" type="parTrans" cxnId="{10C47535-12E3-47F3-A83F-53ACD8CE2E97}">
      <dgm:prSet/>
      <dgm:spPr/>
      <dgm:t>
        <a:bodyPr/>
        <a:lstStyle/>
        <a:p>
          <a:endParaRPr lang="en-US"/>
        </a:p>
      </dgm:t>
    </dgm:pt>
    <dgm:pt modelId="{B0547C92-AEC4-4792-9535-0BC6102ABF48}" type="sibTrans" cxnId="{10C47535-12E3-47F3-A83F-53ACD8CE2E97}">
      <dgm:prSet/>
      <dgm:spPr/>
      <dgm:t>
        <a:bodyPr/>
        <a:lstStyle/>
        <a:p>
          <a:endParaRPr lang="en-US"/>
        </a:p>
      </dgm:t>
    </dgm:pt>
    <dgm:pt modelId="{7C1B4DCC-4EF0-42D7-85F4-F7A1CA569435}">
      <dgm:prSet/>
      <dgm:spPr/>
      <dgm:t>
        <a:bodyPr/>
        <a:lstStyle/>
        <a:p>
          <a:r>
            <a:rPr lang="en-GB" baseline="0"/>
            <a:t>Enabled by default in SQL Pools</a:t>
          </a:r>
          <a:endParaRPr lang="en-US"/>
        </a:p>
      </dgm:t>
    </dgm:pt>
    <dgm:pt modelId="{2790A618-6F22-49F8-B8C9-C92BEC7ABD47}" type="parTrans" cxnId="{38C23F2D-DFC4-4A63-9C20-CCEF2C1B5187}">
      <dgm:prSet/>
      <dgm:spPr/>
      <dgm:t>
        <a:bodyPr/>
        <a:lstStyle/>
        <a:p>
          <a:endParaRPr lang="en-US"/>
        </a:p>
      </dgm:t>
    </dgm:pt>
    <dgm:pt modelId="{919401EE-9D53-44A7-9829-10F9F1C65FC6}" type="sibTrans" cxnId="{38C23F2D-DFC4-4A63-9C20-CCEF2C1B5187}">
      <dgm:prSet/>
      <dgm:spPr/>
      <dgm:t>
        <a:bodyPr/>
        <a:lstStyle/>
        <a:p>
          <a:endParaRPr lang="en-US"/>
        </a:p>
      </dgm:t>
    </dgm:pt>
    <dgm:pt modelId="{4E9798F4-0247-48E2-8470-3C3B64C6C4B5}">
      <dgm:prSet/>
      <dgm:spPr/>
      <dgm:t>
        <a:bodyPr/>
        <a:lstStyle/>
        <a:p>
          <a:r>
            <a:rPr lang="en-GB" baseline="0"/>
            <a:t>Can be disabled if performance is impacted negatively</a:t>
          </a:r>
          <a:endParaRPr lang="en-US"/>
        </a:p>
      </dgm:t>
    </dgm:pt>
    <dgm:pt modelId="{68A38CF5-6ED1-40D2-A24E-C99FF0FFA442}" type="parTrans" cxnId="{00F65228-2F31-4641-8491-03D7D4FC214C}">
      <dgm:prSet/>
      <dgm:spPr/>
      <dgm:t>
        <a:bodyPr/>
        <a:lstStyle/>
        <a:p>
          <a:endParaRPr lang="en-US"/>
        </a:p>
      </dgm:t>
    </dgm:pt>
    <dgm:pt modelId="{68E35C6E-0097-446E-A3C9-FDC131B2C317}" type="sibTrans" cxnId="{00F65228-2F31-4641-8491-03D7D4FC214C}">
      <dgm:prSet/>
      <dgm:spPr/>
      <dgm:t>
        <a:bodyPr/>
        <a:lstStyle/>
        <a:p>
          <a:endParaRPr lang="en-US"/>
        </a:p>
      </dgm:t>
    </dgm:pt>
    <dgm:pt modelId="{3AA2D67F-AF00-410D-B81E-F82989F29605}">
      <dgm:prSet/>
      <dgm:spPr/>
      <dgm:t>
        <a:bodyPr/>
        <a:lstStyle/>
        <a:p>
          <a:r>
            <a:rPr lang="en-GB" baseline="0" dirty="0"/>
            <a:t>Don’t just rely on Auto Create Statistics – proactively tell your environment how it should behave so there are no surprises.</a:t>
          </a:r>
          <a:endParaRPr lang="en-US" dirty="0"/>
        </a:p>
      </dgm:t>
    </dgm:pt>
    <dgm:pt modelId="{E9FE1986-E484-437B-82E8-35FFE82AB979}" type="parTrans" cxnId="{EB1FDF1F-F799-4282-83B5-1AC6C8239A20}">
      <dgm:prSet/>
      <dgm:spPr/>
      <dgm:t>
        <a:bodyPr/>
        <a:lstStyle/>
        <a:p>
          <a:endParaRPr lang="en-US"/>
        </a:p>
      </dgm:t>
    </dgm:pt>
    <dgm:pt modelId="{E2BB6579-1414-4CE2-81B9-E10613E72468}" type="sibTrans" cxnId="{EB1FDF1F-F799-4282-83B5-1AC6C8239A20}">
      <dgm:prSet/>
      <dgm:spPr/>
      <dgm:t>
        <a:bodyPr/>
        <a:lstStyle/>
        <a:p>
          <a:endParaRPr lang="en-US"/>
        </a:p>
      </dgm:t>
    </dgm:pt>
    <dgm:pt modelId="{8222630D-ED89-42D8-A201-060A3467D57A}">
      <dgm:prSet custT="1"/>
      <dgm:spPr/>
      <dgm:t>
        <a:bodyPr/>
        <a:lstStyle/>
        <a:p>
          <a:r>
            <a:rPr lang="en-GB" sz="2600" kern="1200" baseline="0" dirty="0">
              <a:solidFill>
                <a:srgbClr val="FFFFFF"/>
              </a:solidFill>
              <a:latin typeface="Segoe UI"/>
              <a:ea typeface="+mn-ea"/>
              <a:cs typeface="+mn-cs"/>
            </a:rPr>
            <a:t>Auto Update Statistics is not currently available in SQL Pools</a:t>
          </a:r>
          <a:endParaRPr lang="en-US" sz="2600" kern="1200" baseline="0" dirty="0">
            <a:solidFill>
              <a:srgbClr val="FFFFFF"/>
            </a:solidFill>
            <a:latin typeface="Segoe UI"/>
            <a:ea typeface="+mn-ea"/>
            <a:cs typeface="+mn-cs"/>
          </a:endParaRPr>
        </a:p>
      </dgm:t>
    </dgm:pt>
    <dgm:pt modelId="{CCD4D7BA-C6F3-4B0F-A75E-F649E245B316}" type="parTrans" cxnId="{C2FE30C3-7628-4BEB-BEF2-2715FBF59825}">
      <dgm:prSet/>
      <dgm:spPr/>
      <dgm:t>
        <a:bodyPr/>
        <a:lstStyle/>
        <a:p>
          <a:endParaRPr lang="en-US"/>
        </a:p>
      </dgm:t>
    </dgm:pt>
    <dgm:pt modelId="{61B727BB-99CD-4EA6-A042-FB25AC1DAB75}" type="sibTrans" cxnId="{C2FE30C3-7628-4BEB-BEF2-2715FBF59825}">
      <dgm:prSet/>
      <dgm:spPr/>
      <dgm:t>
        <a:bodyPr/>
        <a:lstStyle/>
        <a:p>
          <a:endParaRPr lang="en-US"/>
        </a:p>
      </dgm:t>
    </dgm:pt>
    <dgm:pt modelId="{FC6C20B8-F40E-48D6-9CE1-DB8D59870DC0}" type="pres">
      <dgm:prSet presAssocID="{B570FB2D-3618-4FA8-A922-D89A05C7422C}" presName="linear" presStyleCnt="0">
        <dgm:presLayoutVars>
          <dgm:animLvl val="lvl"/>
          <dgm:resizeHandles val="exact"/>
        </dgm:presLayoutVars>
      </dgm:prSet>
      <dgm:spPr/>
    </dgm:pt>
    <dgm:pt modelId="{C9A2399A-8236-4C0B-8EA6-53824F8B4C9E}" type="pres">
      <dgm:prSet presAssocID="{688A5909-9F49-47C5-9775-487BB9C33D77}" presName="parentText" presStyleLbl="node1" presStyleIdx="0" presStyleCnt="2">
        <dgm:presLayoutVars>
          <dgm:chMax val="0"/>
          <dgm:bulletEnabled val="1"/>
        </dgm:presLayoutVars>
      </dgm:prSet>
      <dgm:spPr/>
    </dgm:pt>
    <dgm:pt modelId="{0BEEA902-48C5-46C7-A197-970550EFC4A0}" type="pres">
      <dgm:prSet presAssocID="{688A5909-9F49-47C5-9775-487BB9C33D77}" presName="childText" presStyleLbl="revTx" presStyleIdx="0" presStyleCnt="1">
        <dgm:presLayoutVars>
          <dgm:bulletEnabled val="1"/>
        </dgm:presLayoutVars>
      </dgm:prSet>
      <dgm:spPr/>
    </dgm:pt>
    <dgm:pt modelId="{E3CC15F3-AAB3-4408-BBCE-3822AF9DEAA7}" type="pres">
      <dgm:prSet presAssocID="{8222630D-ED89-42D8-A201-060A3467D57A}" presName="parentText" presStyleLbl="node1" presStyleIdx="1" presStyleCnt="2">
        <dgm:presLayoutVars>
          <dgm:chMax val="0"/>
          <dgm:bulletEnabled val="1"/>
        </dgm:presLayoutVars>
      </dgm:prSet>
      <dgm:spPr/>
    </dgm:pt>
  </dgm:ptLst>
  <dgm:cxnLst>
    <dgm:cxn modelId="{6A0ADE16-C875-44E7-98E2-F95AAA40E0B6}" type="presOf" srcId="{3AA2D67F-AF00-410D-B81E-F82989F29605}" destId="{0BEEA902-48C5-46C7-A197-970550EFC4A0}" srcOrd="0" destOrd="2" presId="urn:microsoft.com/office/officeart/2005/8/layout/vList2"/>
    <dgm:cxn modelId="{EB1FDF1F-F799-4282-83B5-1AC6C8239A20}" srcId="{688A5909-9F49-47C5-9775-487BB9C33D77}" destId="{3AA2D67F-AF00-410D-B81E-F82989F29605}" srcOrd="2" destOrd="0" parTransId="{E9FE1986-E484-437B-82E8-35FFE82AB979}" sibTransId="{E2BB6579-1414-4CE2-81B9-E10613E72468}"/>
    <dgm:cxn modelId="{00F65228-2F31-4641-8491-03D7D4FC214C}" srcId="{688A5909-9F49-47C5-9775-487BB9C33D77}" destId="{4E9798F4-0247-48E2-8470-3C3B64C6C4B5}" srcOrd="1" destOrd="0" parTransId="{68A38CF5-6ED1-40D2-A24E-C99FF0FFA442}" sibTransId="{68E35C6E-0097-446E-A3C9-FDC131B2C317}"/>
    <dgm:cxn modelId="{9090072C-58D9-427B-8E52-5063BFBFC02E}" type="presOf" srcId="{7C1B4DCC-4EF0-42D7-85F4-F7A1CA569435}" destId="{0BEEA902-48C5-46C7-A197-970550EFC4A0}" srcOrd="0" destOrd="0" presId="urn:microsoft.com/office/officeart/2005/8/layout/vList2"/>
    <dgm:cxn modelId="{38C23F2D-DFC4-4A63-9C20-CCEF2C1B5187}" srcId="{688A5909-9F49-47C5-9775-487BB9C33D77}" destId="{7C1B4DCC-4EF0-42D7-85F4-F7A1CA569435}" srcOrd="0" destOrd="0" parTransId="{2790A618-6F22-49F8-B8C9-C92BEC7ABD47}" sibTransId="{919401EE-9D53-44A7-9829-10F9F1C65FC6}"/>
    <dgm:cxn modelId="{10C47535-12E3-47F3-A83F-53ACD8CE2E97}" srcId="{B570FB2D-3618-4FA8-A922-D89A05C7422C}" destId="{688A5909-9F49-47C5-9775-487BB9C33D77}" srcOrd="0" destOrd="0" parTransId="{22D1236B-7E8B-431D-A752-3E89CECBDB23}" sibTransId="{B0547C92-AEC4-4792-9535-0BC6102ABF48}"/>
    <dgm:cxn modelId="{4A689A6F-6A01-4286-8B9B-E651B85E25B8}" type="presOf" srcId="{4E9798F4-0247-48E2-8470-3C3B64C6C4B5}" destId="{0BEEA902-48C5-46C7-A197-970550EFC4A0}" srcOrd="0" destOrd="1" presId="urn:microsoft.com/office/officeart/2005/8/layout/vList2"/>
    <dgm:cxn modelId="{492B4CA7-B72A-42AB-9E9E-1CB232FF0BFD}" type="presOf" srcId="{688A5909-9F49-47C5-9775-487BB9C33D77}" destId="{C9A2399A-8236-4C0B-8EA6-53824F8B4C9E}" srcOrd="0" destOrd="0" presId="urn:microsoft.com/office/officeart/2005/8/layout/vList2"/>
    <dgm:cxn modelId="{C2FE30C3-7628-4BEB-BEF2-2715FBF59825}" srcId="{B570FB2D-3618-4FA8-A922-D89A05C7422C}" destId="{8222630D-ED89-42D8-A201-060A3467D57A}" srcOrd="1" destOrd="0" parTransId="{CCD4D7BA-C6F3-4B0F-A75E-F649E245B316}" sibTransId="{61B727BB-99CD-4EA6-A042-FB25AC1DAB75}"/>
    <dgm:cxn modelId="{9C0E57CA-D0BF-4E21-8B47-7362156C0942}" type="presOf" srcId="{B570FB2D-3618-4FA8-A922-D89A05C7422C}" destId="{FC6C20B8-F40E-48D6-9CE1-DB8D59870DC0}" srcOrd="0" destOrd="0" presId="urn:microsoft.com/office/officeart/2005/8/layout/vList2"/>
    <dgm:cxn modelId="{21AFAEFB-72C2-40FF-880A-DBC795E7DA5F}" type="presOf" srcId="{8222630D-ED89-42D8-A201-060A3467D57A}" destId="{E3CC15F3-AAB3-4408-BBCE-3822AF9DEAA7}" srcOrd="0" destOrd="0" presId="urn:microsoft.com/office/officeart/2005/8/layout/vList2"/>
    <dgm:cxn modelId="{8D2A8646-AD28-41AE-975E-170838FDBD1B}" type="presParOf" srcId="{FC6C20B8-F40E-48D6-9CE1-DB8D59870DC0}" destId="{C9A2399A-8236-4C0B-8EA6-53824F8B4C9E}" srcOrd="0" destOrd="0" presId="urn:microsoft.com/office/officeart/2005/8/layout/vList2"/>
    <dgm:cxn modelId="{EB2DD444-576E-45F8-B6C2-D718D18CCC23}" type="presParOf" srcId="{FC6C20B8-F40E-48D6-9CE1-DB8D59870DC0}" destId="{0BEEA902-48C5-46C7-A197-970550EFC4A0}" srcOrd="1" destOrd="0" presId="urn:microsoft.com/office/officeart/2005/8/layout/vList2"/>
    <dgm:cxn modelId="{4CACDB47-5115-412B-A79C-4A11F9524D3C}" type="presParOf" srcId="{FC6C20B8-F40E-48D6-9CE1-DB8D59870DC0}" destId="{E3CC15F3-AAB3-4408-BBCE-3822AF9DEAA7}"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20FDA3F-F6E3-4511-9997-CAAADBA1D88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AC09E5E-C76D-47CC-AC97-CE860F1A68AC}">
      <dgm:prSet/>
      <dgm:spPr/>
      <dgm:t>
        <a:bodyPr/>
        <a:lstStyle/>
        <a:p>
          <a:r>
            <a:rPr lang="en-GB" baseline="0"/>
            <a:t>Create stats immediately after table creation</a:t>
          </a:r>
          <a:endParaRPr lang="en-US"/>
        </a:p>
      </dgm:t>
    </dgm:pt>
    <dgm:pt modelId="{96B1385A-31E6-488D-9D2A-B4804C393120}" type="parTrans" cxnId="{5570C75A-AE99-45D7-92ED-D3BFD3C72AC9}">
      <dgm:prSet/>
      <dgm:spPr/>
      <dgm:t>
        <a:bodyPr/>
        <a:lstStyle/>
        <a:p>
          <a:endParaRPr lang="en-US"/>
        </a:p>
      </dgm:t>
    </dgm:pt>
    <dgm:pt modelId="{F6ADE286-5AF0-42BD-9B1A-7BAC893955E2}" type="sibTrans" cxnId="{5570C75A-AE99-45D7-92ED-D3BFD3C72AC9}">
      <dgm:prSet/>
      <dgm:spPr/>
      <dgm:t>
        <a:bodyPr/>
        <a:lstStyle/>
        <a:p>
          <a:endParaRPr lang="en-US"/>
        </a:p>
      </dgm:t>
    </dgm:pt>
    <dgm:pt modelId="{6381E908-2552-4192-85E2-A3F400F1CB14}">
      <dgm:prSet/>
      <dgm:spPr/>
      <dgm:t>
        <a:bodyPr/>
        <a:lstStyle/>
        <a:p>
          <a:r>
            <a:rPr lang="en-GB" baseline="0"/>
            <a:t>Avoids system generated stats being created</a:t>
          </a:r>
          <a:endParaRPr lang="en-US"/>
        </a:p>
      </dgm:t>
    </dgm:pt>
    <dgm:pt modelId="{1E808B74-1E9B-488A-B799-D920E15F3689}" type="parTrans" cxnId="{6B28F915-ABEA-4B6C-B344-9214F9109420}">
      <dgm:prSet/>
      <dgm:spPr/>
      <dgm:t>
        <a:bodyPr/>
        <a:lstStyle/>
        <a:p>
          <a:endParaRPr lang="en-US"/>
        </a:p>
      </dgm:t>
    </dgm:pt>
    <dgm:pt modelId="{F2B9ADB7-3562-4A00-A01D-89313EBA8DE6}" type="sibTrans" cxnId="{6B28F915-ABEA-4B6C-B344-9214F9109420}">
      <dgm:prSet/>
      <dgm:spPr/>
      <dgm:t>
        <a:bodyPr/>
        <a:lstStyle/>
        <a:p>
          <a:endParaRPr lang="en-US"/>
        </a:p>
      </dgm:t>
    </dgm:pt>
    <dgm:pt modelId="{B14D521C-8630-4779-A6DE-67501ECCAAFA}">
      <dgm:prSet/>
      <dgm:spPr/>
      <dgm:t>
        <a:bodyPr/>
        <a:lstStyle/>
        <a:p>
          <a:r>
            <a:rPr lang="en-GB" baseline="0" dirty="0"/>
            <a:t>Maximizes control</a:t>
          </a:r>
          <a:endParaRPr lang="en-US" dirty="0"/>
        </a:p>
      </dgm:t>
    </dgm:pt>
    <dgm:pt modelId="{34844139-439C-47D7-ACC9-2BB04D5AB757}" type="parTrans" cxnId="{14433B40-B039-4E8A-BA09-621C006D7E1D}">
      <dgm:prSet/>
      <dgm:spPr/>
      <dgm:t>
        <a:bodyPr/>
        <a:lstStyle/>
        <a:p>
          <a:endParaRPr lang="en-US"/>
        </a:p>
      </dgm:t>
    </dgm:pt>
    <dgm:pt modelId="{4359CD3E-6BAD-4939-B5D6-772BB8FA5A2D}" type="sibTrans" cxnId="{14433B40-B039-4E8A-BA09-621C006D7E1D}">
      <dgm:prSet/>
      <dgm:spPr/>
      <dgm:t>
        <a:bodyPr/>
        <a:lstStyle/>
        <a:p>
          <a:endParaRPr lang="en-US"/>
        </a:p>
      </dgm:t>
    </dgm:pt>
    <dgm:pt modelId="{07B6215D-D4FD-4A95-A8C0-48C47D7906C5}">
      <dgm:prSet/>
      <dgm:spPr/>
      <dgm:t>
        <a:bodyPr/>
        <a:lstStyle/>
        <a:p>
          <a:r>
            <a:rPr lang="en-GB" baseline="0" dirty="0"/>
            <a:t>Maximizes consistency and predictability</a:t>
          </a:r>
          <a:endParaRPr lang="en-US" dirty="0"/>
        </a:p>
      </dgm:t>
    </dgm:pt>
    <dgm:pt modelId="{43E93B06-ED0C-4CE8-955A-BC84F52F1DBF}" type="parTrans" cxnId="{801F3783-063D-467A-85B6-00138682D4C7}">
      <dgm:prSet/>
      <dgm:spPr/>
      <dgm:t>
        <a:bodyPr/>
        <a:lstStyle/>
        <a:p>
          <a:endParaRPr lang="en-US"/>
        </a:p>
      </dgm:t>
    </dgm:pt>
    <dgm:pt modelId="{133A651A-1E66-4F26-BB5A-555939B45E72}" type="sibTrans" cxnId="{801F3783-063D-467A-85B6-00138682D4C7}">
      <dgm:prSet/>
      <dgm:spPr/>
      <dgm:t>
        <a:bodyPr/>
        <a:lstStyle/>
        <a:p>
          <a:endParaRPr lang="en-US"/>
        </a:p>
      </dgm:t>
    </dgm:pt>
    <dgm:pt modelId="{F2F97419-68CD-400E-A1D5-D512022D3157}" type="pres">
      <dgm:prSet presAssocID="{620FDA3F-F6E3-4511-9997-CAAADBA1D887}" presName="Name0" presStyleCnt="0">
        <dgm:presLayoutVars>
          <dgm:chMax val="7"/>
          <dgm:chPref val="7"/>
          <dgm:dir/>
        </dgm:presLayoutVars>
      </dgm:prSet>
      <dgm:spPr/>
    </dgm:pt>
    <dgm:pt modelId="{5D1372B6-A6DA-4319-B4F7-2D87C0A47855}" type="pres">
      <dgm:prSet presAssocID="{620FDA3F-F6E3-4511-9997-CAAADBA1D887}" presName="Name1" presStyleCnt="0"/>
      <dgm:spPr/>
    </dgm:pt>
    <dgm:pt modelId="{EF85334F-702D-4D10-A7C0-954F3DAC1730}" type="pres">
      <dgm:prSet presAssocID="{620FDA3F-F6E3-4511-9997-CAAADBA1D887}" presName="cycle" presStyleCnt="0"/>
      <dgm:spPr/>
    </dgm:pt>
    <dgm:pt modelId="{6D28F13A-9DB1-46A4-A82B-B30680CD20AC}" type="pres">
      <dgm:prSet presAssocID="{620FDA3F-F6E3-4511-9997-CAAADBA1D887}" presName="srcNode" presStyleLbl="node1" presStyleIdx="0" presStyleCnt="4"/>
      <dgm:spPr/>
    </dgm:pt>
    <dgm:pt modelId="{CF3C67A2-2349-4DE3-90CB-92FC2722C520}" type="pres">
      <dgm:prSet presAssocID="{620FDA3F-F6E3-4511-9997-CAAADBA1D887}" presName="conn" presStyleLbl="parChTrans1D2" presStyleIdx="0" presStyleCnt="1"/>
      <dgm:spPr/>
    </dgm:pt>
    <dgm:pt modelId="{CEA0432C-9B2B-4B22-93E6-821609261F3D}" type="pres">
      <dgm:prSet presAssocID="{620FDA3F-F6E3-4511-9997-CAAADBA1D887}" presName="extraNode" presStyleLbl="node1" presStyleIdx="0" presStyleCnt="4"/>
      <dgm:spPr/>
    </dgm:pt>
    <dgm:pt modelId="{61FD5B78-D113-4E87-AB14-54EC1B08F141}" type="pres">
      <dgm:prSet presAssocID="{620FDA3F-F6E3-4511-9997-CAAADBA1D887}" presName="dstNode" presStyleLbl="node1" presStyleIdx="0" presStyleCnt="4"/>
      <dgm:spPr/>
    </dgm:pt>
    <dgm:pt modelId="{9154A966-BCE8-4091-92ED-8AACE85FB74C}" type="pres">
      <dgm:prSet presAssocID="{7AC09E5E-C76D-47CC-AC97-CE860F1A68AC}" presName="text_1" presStyleLbl="node1" presStyleIdx="0" presStyleCnt="4">
        <dgm:presLayoutVars>
          <dgm:bulletEnabled val="1"/>
        </dgm:presLayoutVars>
      </dgm:prSet>
      <dgm:spPr/>
    </dgm:pt>
    <dgm:pt modelId="{FA6F2902-877D-4904-B64F-B359EB1CB4A5}" type="pres">
      <dgm:prSet presAssocID="{7AC09E5E-C76D-47CC-AC97-CE860F1A68AC}" presName="accent_1" presStyleCnt="0"/>
      <dgm:spPr/>
    </dgm:pt>
    <dgm:pt modelId="{5105E2CB-9E14-4CD2-A594-F62A79AFB43E}" type="pres">
      <dgm:prSet presAssocID="{7AC09E5E-C76D-47CC-AC97-CE860F1A68AC}" presName="accentRepeatNode" presStyleLbl="solidFgAcc1" presStyleIdx="0" presStyleCnt="4"/>
      <dgm:spPr/>
    </dgm:pt>
    <dgm:pt modelId="{517F40E5-991B-4D37-907A-8B8B90D64CD2}" type="pres">
      <dgm:prSet presAssocID="{6381E908-2552-4192-85E2-A3F400F1CB14}" presName="text_2" presStyleLbl="node1" presStyleIdx="1" presStyleCnt="4">
        <dgm:presLayoutVars>
          <dgm:bulletEnabled val="1"/>
        </dgm:presLayoutVars>
      </dgm:prSet>
      <dgm:spPr/>
    </dgm:pt>
    <dgm:pt modelId="{1DC7B66A-CE21-4D36-9508-7F314CECC7E2}" type="pres">
      <dgm:prSet presAssocID="{6381E908-2552-4192-85E2-A3F400F1CB14}" presName="accent_2" presStyleCnt="0"/>
      <dgm:spPr/>
    </dgm:pt>
    <dgm:pt modelId="{7C960412-FFF0-4E23-A1C9-166F9BF36222}" type="pres">
      <dgm:prSet presAssocID="{6381E908-2552-4192-85E2-A3F400F1CB14}" presName="accentRepeatNode" presStyleLbl="solidFgAcc1" presStyleIdx="1" presStyleCnt="4"/>
      <dgm:spPr/>
    </dgm:pt>
    <dgm:pt modelId="{EC3FA33A-7A29-42B8-B34D-9901643A268E}" type="pres">
      <dgm:prSet presAssocID="{B14D521C-8630-4779-A6DE-67501ECCAAFA}" presName="text_3" presStyleLbl="node1" presStyleIdx="2" presStyleCnt="4">
        <dgm:presLayoutVars>
          <dgm:bulletEnabled val="1"/>
        </dgm:presLayoutVars>
      </dgm:prSet>
      <dgm:spPr/>
    </dgm:pt>
    <dgm:pt modelId="{C03E029E-C061-4C94-954C-129098EDBB3A}" type="pres">
      <dgm:prSet presAssocID="{B14D521C-8630-4779-A6DE-67501ECCAAFA}" presName="accent_3" presStyleCnt="0"/>
      <dgm:spPr/>
    </dgm:pt>
    <dgm:pt modelId="{61EAFC7E-9A67-461F-8FEC-7B6455E1680C}" type="pres">
      <dgm:prSet presAssocID="{B14D521C-8630-4779-A6DE-67501ECCAAFA}" presName="accentRepeatNode" presStyleLbl="solidFgAcc1" presStyleIdx="2" presStyleCnt="4"/>
      <dgm:spPr/>
    </dgm:pt>
    <dgm:pt modelId="{F6989B20-2ECD-4B15-AD81-88C8F83B889B}" type="pres">
      <dgm:prSet presAssocID="{07B6215D-D4FD-4A95-A8C0-48C47D7906C5}" presName="text_4" presStyleLbl="node1" presStyleIdx="3" presStyleCnt="4">
        <dgm:presLayoutVars>
          <dgm:bulletEnabled val="1"/>
        </dgm:presLayoutVars>
      </dgm:prSet>
      <dgm:spPr/>
    </dgm:pt>
    <dgm:pt modelId="{F3FD767D-6AC4-4A18-B43C-5C958A3572D4}" type="pres">
      <dgm:prSet presAssocID="{07B6215D-D4FD-4A95-A8C0-48C47D7906C5}" presName="accent_4" presStyleCnt="0"/>
      <dgm:spPr/>
    </dgm:pt>
    <dgm:pt modelId="{E205D6BA-8011-47AA-BE9E-91DFDCA4BC40}" type="pres">
      <dgm:prSet presAssocID="{07B6215D-D4FD-4A95-A8C0-48C47D7906C5}" presName="accentRepeatNode" presStyleLbl="solidFgAcc1" presStyleIdx="3" presStyleCnt="4"/>
      <dgm:spPr/>
    </dgm:pt>
  </dgm:ptLst>
  <dgm:cxnLst>
    <dgm:cxn modelId="{6B28F915-ABEA-4B6C-B344-9214F9109420}" srcId="{620FDA3F-F6E3-4511-9997-CAAADBA1D887}" destId="{6381E908-2552-4192-85E2-A3F400F1CB14}" srcOrd="1" destOrd="0" parTransId="{1E808B74-1E9B-488A-B799-D920E15F3689}" sibTransId="{F2B9ADB7-3562-4A00-A01D-89313EBA8DE6}"/>
    <dgm:cxn modelId="{14433B40-B039-4E8A-BA09-621C006D7E1D}" srcId="{620FDA3F-F6E3-4511-9997-CAAADBA1D887}" destId="{B14D521C-8630-4779-A6DE-67501ECCAAFA}" srcOrd="2" destOrd="0" parTransId="{34844139-439C-47D7-ACC9-2BB04D5AB757}" sibTransId="{4359CD3E-6BAD-4939-B5D6-772BB8FA5A2D}"/>
    <dgm:cxn modelId="{3842E044-1798-4810-BF4B-A2AF77CDFE9D}" type="presOf" srcId="{07B6215D-D4FD-4A95-A8C0-48C47D7906C5}" destId="{F6989B20-2ECD-4B15-AD81-88C8F83B889B}" srcOrd="0" destOrd="0" presId="urn:microsoft.com/office/officeart/2008/layout/VerticalCurvedList"/>
    <dgm:cxn modelId="{B95D584F-D57C-4C66-BD29-D395EC982D38}" type="presOf" srcId="{F6ADE286-5AF0-42BD-9B1A-7BAC893955E2}" destId="{CF3C67A2-2349-4DE3-90CB-92FC2722C520}" srcOrd="0" destOrd="0" presId="urn:microsoft.com/office/officeart/2008/layout/VerticalCurvedList"/>
    <dgm:cxn modelId="{5570C75A-AE99-45D7-92ED-D3BFD3C72AC9}" srcId="{620FDA3F-F6E3-4511-9997-CAAADBA1D887}" destId="{7AC09E5E-C76D-47CC-AC97-CE860F1A68AC}" srcOrd="0" destOrd="0" parTransId="{96B1385A-31E6-488D-9D2A-B4804C393120}" sibTransId="{F6ADE286-5AF0-42BD-9B1A-7BAC893955E2}"/>
    <dgm:cxn modelId="{801F3783-063D-467A-85B6-00138682D4C7}" srcId="{620FDA3F-F6E3-4511-9997-CAAADBA1D887}" destId="{07B6215D-D4FD-4A95-A8C0-48C47D7906C5}" srcOrd="3" destOrd="0" parTransId="{43E93B06-ED0C-4CE8-955A-BC84F52F1DBF}" sibTransId="{133A651A-1E66-4F26-BB5A-555939B45E72}"/>
    <dgm:cxn modelId="{2A0240B5-6E1E-4FAD-8696-09A280FFA845}" type="presOf" srcId="{6381E908-2552-4192-85E2-A3F400F1CB14}" destId="{517F40E5-991B-4D37-907A-8B8B90D64CD2}" srcOrd="0" destOrd="0" presId="urn:microsoft.com/office/officeart/2008/layout/VerticalCurvedList"/>
    <dgm:cxn modelId="{50D2A1DF-BA46-45C5-B6D2-A183F44113DB}" type="presOf" srcId="{B14D521C-8630-4779-A6DE-67501ECCAAFA}" destId="{EC3FA33A-7A29-42B8-B34D-9901643A268E}" srcOrd="0" destOrd="0" presId="urn:microsoft.com/office/officeart/2008/layout/VerticalCurvedList"/>
    <dgm:cxn modelId="{C942D4DF-BEA1-473C-9A1A-A07F8B7BF5E4}" type="presOf" srcId="{7AC09E5E-C76D-47CC-AC97-CE860F1A68AC}" destId="{9154A966-BCE8-4091-92ED-8AACE85FB74C}" srcOrd="0" destOrd="0" presId="urn:microsoft.com/office/officeart/2008/layout/VerticalCurvedList"/>
    <dgm:cxn modelId="{83DF2DFF-A41E-45C2-81C3-8EAAC03BF812}" type="presOf" srcId="{620FDA3F-F6E3-4511-9997-CAAADBA1D887}" destId="{F2F97419-68CD-400E-A1D5-D512022D3157}" srcOrd="0" destOrd="0" presId="urn:microsoft.com/office/officeart/2008/layout/VerticalCurvedList"/>
    <dgm:cxn modelId="{7D335E38-2249-4AC2-ADE1-8EB863962E28}" type="presParOf" srcId="{F2F97419-68CD-400E-A1D5-D512022D3157}" destId="{5D1372B6-A6DA-4319-B4F7-2D87C0A47855}" srcOrd="0" destOrd="0" presId="urn:microsoft.com/office/officeart/2008/layout/VerticalCurvedList"/>
    <dgm:cxn modelId="{B730A61E-345F-413A-B78A-92C170F6AA23}" type="presParOf" srcId="{5D1372B6-A6DA-4319-B4F7-2D87C0A47855}" destId="{EF85334F-702D-4D10-A7C0-954F3DAC1730}" srcOrd="0" destOrd="0" presId="urn:microsoft.com/office/officeart/2008/layout/VerticalCurvedList"/>
    <dgm:cxn modelId="{669F22AA-D0D7-4A77-BD6E-840575793537}" type="presParOf" srcId="{EF85334F-702D-4D10-A7C0-954F3DAC1730}" destId="{6D28F13A-9DB1-46A4-A82B-B30680CD20AC}" srcOrd="0" destOrd="0" presId="urn:microsoft.com/office/officeart/2008/layout/VerticalCurvedList"/>
    <dgm:cxn modelId="{92D3434F-801F-47F7-98C6-ABA90EFB7F6C}" type="presParOf" srcId="{EF85334F-702D-4D10-A7C0-954F3DAC1730}" destId="{CF3C67A2-2349-4DE3-90CB-92FC2722C520}" srcOrd="1" destOrd="0" presId="urn:microsoft.com/office/officeart/2008/layout/VerticalCurvedList"/>
    <dgm:cxn modelId="{AFA9DC71-911B-4AF6-B53A-4595B2177F85}" type="presParOf" srcId="{EF85334F-702D-4D10-A7C0-954F3DAC1730}" destId="{CEA0432C-9B2B-4B22-93E6-821609261F3D}" srcOrd="2" destOrd="0" presId="urn:microsoft.com/office/officeart/2008/layout/VerticalCurvedList"/>
    <dgm:cxn modelId="{0D28159A-FD66-45FF-B35F-D45BD627C94B}" type="presParOf" srcId="{EF85334F-702D-4D10-A7C0-954F3DAC1730}" destId="{61FD5B78-D113-4E87-AB14-54EC1B08F141}" srcOrd="3" destOrd="0" presId="urn:microsoft.com/office/officeart/2008/layout/VerticalCurvedList"/>
    <dgm:cxn modelId="{64472B6D-5BA7-48C8-8519-BABBEB4CD40C}" type="presParOf" srcId="{5D1372B6-A6DA-4319-B4F7-2D87C0A47855}" destId="{9154A966-BCE8-4091-92ED-8AACE85FB74C}" srcOrd="1" destOrd="0" presId="urn:microsoft.com/office/officeart/2008/layout/VerticalCurvedList"/>
    <dgm:cxn modelId="{146BB246-D93C-447C-9E19-5EDE66A3F2B1}" type="presParOf" srcId="{5D1372B6-A6DA-4319-B4F7-2D87C0A47855}" destId="{FA6F2902-877D-4904-B64F-B359EB1CB4A5}" srcOrd="2" destOrd="0" presId="urn:microsoft.com/office/officeart/2008/layout/VerticalCurvedList"/>
    <dgm:cxn modelId="{D7328C39-6A5A-4625-AF27-1031F52E061F}" type="presParOf" srcId="{FA6F2902-877D-4904-B64F-B359EB1CB4A5}" destId="{5105E2CB-9E14-4CD2-A594-F62A79AFB43E}" srcOrd="0" destOrd="0" presId="urn:microsoft.com/office/officeart/2008/layout/VerticalCurvedList"/>
    <dgm:cxn modelId="{8B45ECF2-9FD0-401B-8999-F8E2DF42B3BB}" type="presParOf" srcId="{5D1372B6-A6DA-4319-B4F7-2D87C0A47855}" destId="{517F40E5-991B-4D37-907A-8B8B90D64CD2}" srcOrd="3" destOrd="0" presId="urn:microsoft.com/office/officeart/2008/layout/VerticalCurvedList"/>
    <dgm:cxn modelId="{9FA5DE4B-CE7A-4369-9CBC-EA4526F5840D}" type="presParOf" srcId="{5D1372B6-A6DA-4319-B4F7-2D87C0A47855}" destId="{1DC7B66A-CE21-4D36-9508-7F314CECC7E2}" srcOrd="4" destOrd="0" presId="urn:microsoft.com/office/officeart/2008/layout/VerticalCurvedList"/>
    <dgm:cxn modelId="{440641C5-5057-4BA2-AEF5-4702E79980C2}" type="presParOf" srcId="{1DC7B66A-CE21-4D36-9508-7F314CECC7E2}" destId="{7C960412-FFF0-4E23-A1C9-166F9BF36222}" srcOrd="0" destOrd="0" presId="urn:microsoft.com/office/officeart/2008/layout/VerticalCurvedList"/>
    <dgm:cxn modelId="{D8F69010-4B8D-4C93-A32E-CFC078BDB5DF}" type="presParOf" srcId="{5D1372B6-A6DA-4319-B4F7-2D87C0A47855}" destId="{EC3FA33A-7A29-42B8-B34D-9901643A268E}" srcOrd="5" destOrd="0" presId="urn:microsoft.com/office/officeart/2008/layout/VerticalCurvedList"/>
    <dgm:cxn modelId="{FD3E506B-B851-40C8-A50D-988C825ADD51}" type="presParOf" srcId="{5D1372B6-A6DA-4319-B4F7-2D87C0A47855}" destId="{C03E029E-C061-4C94-954C-129098EDBB3A}" srcOrd="6" destOrd="0" presId="urn:microsoft.com/office/officeart/2008/layout/VerticalCurvedList"/>
    <dgm:cxn modelId="{30A6BBE4-16AB-40E1-B8FF-530D438E4550}" type="presParOf" srcId="{C03E029E-C061-4C94-954C-129098EDBB3A}" destId="{61EAFC7E-9A67-461F-8FEC-7B6455E1680C}" srcOrd="0" destOrd="0" presId="urn:microsoft.com/office/officeart/2008/layout/VerticalCurvedList"/>
    <dgm:cxn modelId="{5EED3078-CCC5-46C4-AEBA-56BEE164D468}" type="presParOf" srcId="{5D1372B6-A6DA-4319-B4F7-2D87C0A47855}" destId="{F6989B20-2ECD-4B15-AD81-88C8F83B889B}" srcOrd="7" destOrd="0" presId="urn:microsoft.com/office/officeart/2008/layout/VerticalCurvedList"/>
    <dgm:cxn modelId="{A22A54C0-ADA7-4889-AE40-2DECB83D7C7E}" type="presParOf" srcId="{5D1372B6-A6DA-4319-B4F7-2D87C0A47855}" destId="{F3FD767D-6AC4-4A18-B43C-5C958A3572D4}" srcOrd="8" destOrd="0" presId="urn:microsoft.com/office/officeart/2008/layout/VerticalCurvedList"/>
    <dgm:cxn modelId="{7E2BADFE-A4F4-403D-B06C-CC04F2A30424}" type="presParOf" srcId="{F3FD767D-6AC4-4A18-B43C-5C958A3572D4}" destId="{E205D6BA-8011-47AA-BE9E-91DFDCA4BC4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54CFBE2-B424-4368-B83D-80D220A1D8B6}"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6B3C58E6-B55C-4509-8599-5714E03B987A}">
      <dgm:prSet custT="1"/>
      <dgm:spPr/>
      <dgm:t>
        <a:bodyPr/>
        <a:lstStyle/>
        <a:p>
          <a:r>
            <a:rPr lang="en-GB" sz="1800" baseline="0"/>
            <a:t>SQL DB may generate system statistics objects</a:t>
          </a:r>
          <a:endParaRPr lang="en-US" sz="1800"/>
        </a:p>
      </dgm:t>
    </dgm:pt>
    <dgm:pt modelId="{FDEAD0BA-AB17-4338-8077-A11C691ABA6F}" type="parTrans" cxnId="{0D67FBBD-B5A8-4312-BEE2-81754222CE73}">
      <dgm:prSet/>
      <dgm:spPr/>
      <dgm:t>
        <a:bodyPr/>
        <a:lstStyle/>
        <a:p>
          <a:endParaRPr lang="en-US" sz="2800"/>
        </a:p>
      </dgm:t>
    </dgm:pt>
    <dgm:pt modelId="{33C85517-5773-4806-A7CB-8B2A1949B31B}" type="sibTrans" cxnId="{0D67FBBD-B5A8-4312-BEE2-81754222CE73}">
      <dgm:prSet/>
      <dgm:spPr/>
      <dgm:t>
        <a:bodyPr/>
        <a:lstStyle/>
        <a:p>
          <a:endParaRPr lang="en-US" sz="2800"/>
        </a:p>
      </dgm:t>
    </dgm:pt>
    <dgm:pt modelId="{1BD89DAC-55B4-42D1-93F8-014A58D073C0}">
      <dgm:prSet custT="1"/>
      <dgm:spPr/>
      <dgm:t>
        <a:bodyPr/>
        <a:lstStyle/>
        <a:p>
          <a:r>
            <a:rPr lang="en-GB" sz="1800" baseline="0"/>
            <a:t>Satisfy any queries fired at tables in the interim</a:t>
          </a:r>
          <a:endParaRPr lang="en-US" sz="1800"/>
        </a:p>
      </dgm:t>
    </dgm:pt>
    <dgm:pt modelId="{C2B33DE5-4768-4E10-BE4B-D5655A40E686}" type="parTrans" cxnId="{1AF71D15-5653-492F-A418-2B2F4A6A7D1B}">
      <dgm:prSet/>
      <dgm:spPr/>
      <dgm:t>
        <a:bodyPr/>
        <a:lstStyle/>
        <a:p>
          <a:endParaRPr lang="en-US" sz="2800"/>
        </a:p>
      </dgm:t>
    </dgm:pt>
    <dgm:pt modelId="{EF2C5D5B-3341-42FF-AC2C-D1B49CFC8D68}" type="sibTrans" cxnId="{1AF71D15-5653-492F-A418-2B2F4A6A7D1B}">
      <dgm:prSet/>
      <dgm:spPr/>
      <dgm:t>
        <a:bodyPr/>
        <a:lstStyle/>
        <a:p>
          <a:endParaRPr lang="en-US" sz="2800"/>
        </a:p>
      </dgm:t>
    </dgm:pt>
    <dgm:pt modelId="{DD2E7DCA-A4AB-489C-84AA-CD9D20D127FA}">
      <dgm:prSet custT="1"/>
      <dgm:spPr/>
      <dgm:t>
        <a:bodyPr/>
        <a:lstStyle/>
        <a:p>
          <a:r>
            <a:rPr lang="en-GB" sz="1800" baseline="0"/>
            <a:t>You can end up with a user generated stat and a system generated stat on the same column</a:t>
          </a:r>
          <a:endParaRPr lang="en-US" sz="1800"/>
        </a:p>
      </dgm:t>
    </dgm:pt>
    <dgm:pt modelId="{C16523F9-6B2A-47BD-A2AC-3ED915A26FBA}" type="parTrans" cxnId="{D5D4D236-FA29-4B5E-B964-98F393B8A2CA}">
      <dgm:prSet/>
      <dgm:spPr/>
      <dgm:t>
        <a:bodyPr/>
        <a:lstStyle/>
        <a:p>
          <a:endParaRPr lang="en-US" sz="2800"/>
        </a:p>
      </dgm:t>
    </dgm:pt>
    <dgm:pt modelId="{704DD70C-8B95-481C-B0CD-903FF0080C66}" type="sibTrans" cxnId="{D5D4D236-FA29-4B5E-B964-98F393B8A2CA}">
      <dgm:prSet/>
      <dgm:spPr/>
      <dgm:t>
        <a:bodyPr/>
        <a:lstStyle/>
        <a:p>
          <a:endParaRPr lang="en-US" sz="2800"/>
        </a:p>
      </dgm:t>
    </dgm:pt>
    <dgm:pt modelId="{4924FC10-1034-45C1-A4B7-01A67E58381C}">
      <dgm:prSet custT="1"/>
      <dgm:spPr/>
      <dgm:t>
        <a:bodyPr/>
        <a:lstStyle/>
        <a:p>
          <a:r>
            <a:rPr lang="en-GB" sz="1800" baseline="0"/>
            <a:t>CREATE STATISTICS will create another named statistic for a column even if a system generated stat already exists</a:t>
          </a:r>
          <a:endParaRPr lang="en-US" sz="1800"/>
        </a:p>
      </dgm:t>
    </dgm:pt>
    <dgm:pt modelId="{9B345F94-2C38-4CC8-802B-47151C0C7B73}" type="parTrans" cxnId="{2940BECC-F1BA-4775-A663-697C9E8288B4}">
      <dgm:prSet/>
      <dgm:spPr/>
      <dgm:t>
        <a:bodyPr/>
        <a:lstStyle/>
        <a:p>
          <a:endParaRPr lang="en-US" sz="2800"/>
        </a:p>
      </dgm:t>
    </dgm:pt>
    <dgm:pt modelId="{94249385-15F0-41FB-8FE0-E49605A3B5B1}" type="sibTrans" cxnId="{2940BECC-F1BA-4775-A663-697C9E8288B4}">
      <dgm:prSet/>
      <dgm:spPr/>
      <dgm:t>
        <a:bodyPr/>
        <a:lstStyle/>
        <a:p>
          <a:endParaRPr lang="en-US" sz="2800"/>
        </a:p>
      </dgm:t>
    </dgm:pt>
    <dgm:pt modelId="{01E3D882-156E-4158-AA22-769AF2B79D7E}">
      <dgm:prSet custT="1"/>
      <dgm:spPr/>
      <dgm:t>
        <a:bodyPr/>
        <a:lstStyle/>
        <a:p>
          <a:r>
            <a:rPr lang="en-GB" sz="1800" baseline="0"/>
            <a:t>You won’t know which statistic is used to resolve the SMP query</a:t>
          </a:r>
          <a:endParaRPr lang="en-US" sz="1800"/>
        </a:p>
      </dgm:t>
    </dgm:pt>
    <dgm:pt modelId="{E1D5DFCC-A2B5-4EB8-AF6B-B7B948EDCDAE}" type="parTrans" cxnId="{684DDC07-EA9E-44DA-B2A1-D96CD9AD6BCF}">
      <dgm:prSet/>
      <dgm:spPr/>
      <dgm:t>
        <a:bodyPr/>
        <a:lstStyle/>
        <a:p>
          <a:endParaRPr lang="en-US" sz="2800"/>
        </a:p>
      </dgm:t>
    </dgm:pt>
    <dgm:pt modelId="{B7A8BDC6-B6B6-40EC-906B-86FBBAB6B741}" type="sibTrans" cxnId="{684DDC07-EA9E-44DA-B2A1-D96CD9AD6BCF}">
      <dgm:prSet/>
      <dgm:spPr/>
      <dgm:t>
        <a:bodyPr/>
        <a:lstStyle/>
        <a:p>
          <a:endParaRPr lang="en-US" sz="2800"/>
        </a:p>
      </dgm:t>
    </dgm:pt>
    <dgm:pt modelId="{5CDABC6C-AF69-4940-A56C-E0270E64ECDC}">
      <dgm:prSet custT="1"/>
      <dgm:spPr/>
      <dgm:t>
        <a:bodyPr/>
        <a:lstStyle/>
        <a:p>
          <a:r>
            <a:rPr lang="en-GB" sz="1800" baseline="0"/>
            <a:t>It will depend on which is the freshest stat but that could be different for each distribution</a:t>
          </a:r>
          <a:endParaRPr lang="en-US" sz="1800"/>
        </a:p>
      </dgm:t>
    </dgm:pt>
    <dgm:pt modelId="{B6DF247E-EB0A-4EAB-8A01-726D5604F460}" type="parTrans" cxnId="{8A0D3AF9-9502-458F-ABE9-3DF2EF7FB573}">
      <dgm:prSet/>
      <dgm:spPr/>
      <dgm:t>
        <a:bodyPr/>
        <a:lstStyle/>
        <a:p>
          <a:endParaRPr lang="en-US" sz="2800"/>
        </a:p>
      </dgm:t>
    </dgm:pt>
    <dgm:pt modelId="{CEC1B359-D352-4298-A5C5-6E6CBA0B7441}" type="sibTrans" cxnId="{8A0D3AF9-9502-458F-ABE9-3DF2EF7FB573}">
      <dgm:prSet/>
      <dgm:spPr/>
      <dgm:t>
        <a:bodyPr/>
        <a:lstStyle/>
        <a:p>
          <a:endParaRPr lang="en-US" sz="2800"/>
        </a:p>
      </dgm:t>
    </dgm:pt>
    <dgm:pt modelId="{6E8699C8-6898-475E-BDF1-D271AA344851}">
      <dgm:prSet custT="1"/>
      <dgm:spPr/>
      <dgm:t>
        <a:bodyPr/>
        <a:lstStyle/>
        <a:p>
          <a:r>
            <a:rPr lang="en-GB" sz="1800" baseline="0"/>
            <a:t>UPDATE STATISTICS &lt;Table_name&gt; updates statistics </a:t>
          </a:r>
          <a:r>
            <a:rPr lang="en-GB" sz="1800" u="sng" baseline="0"/>
            <a:t>in series</a:t>
          </a:r>
          <a:endParaRPr lang="en-US" sz="1800"/>
        </a:p>
      </dgm:t>
    </dgm:pt>
    <dgm:pt modelId="{6BF97ED7-C2C8-49F2-A006-07395CE25983}" type="parTrans" cxnId="{E4A2988E-C82C-46E8-8734-12D7E26E3AB7}">
      <dgm:prSet/>
      <dgm:spPr/>
      <dgm:t>
        <a:bodyPr/>
        <a:lstStyle/>
        <a:p>
          <a:endParaRPr lang="en-US" sz="2800"/>
        </a:p>
      </dgm:t>
    </dgm:pt>
    <dgm:pt modelId="{6D93F9B2-9111-4B98-BF33-D9C89AB47402}" type="sibTrans" cxnId="{E4A2988E-C82C-46E8-8734-12D7E26E3AB7}">
      <dgm:prSet/>
      <dgm:spPr/>
      <dgm:t>
        <a:bodyPr/>
        <a:lstStyle/>
        <a:p>
          <a:endParaRPr lang="en-US" sz="2800"/>
        </a:p>
      </dgm:t>
    </dgm:pt>
    <dgm:pt modelId="{725E7FB5-4EC0-41F5-923E-6AC2AD86A576}">
      <dgm:prSet custT="1"/>
      <dgm:spPr/>
      <dgm:t>
        <a:bodyPr/>
        <a:lstStyle/>
        <a:p>
          <a:r>
            <a:rPr lang="en-GB" sz="1800" baseline="0" dirty="0"/>
            <a:t>Worst case (all columns having both system and user generated statistics) this process will now take twice as long</a:t>
          </a:r>
          <a:endParaRPr lang="en-US" sz="1800" dirty="0"/>
        </a:p>
      </dgm:t>
    </dgm:pt>
    <dgm:pt modelId="{F9A7A9A4-0B60-4906-B49F-08723D2C881F}" type="parTrans" cxnId="{F8AC9FCB-C9BC-498D-8745-9C6D31018EB9}">
      <dgm:prSet/>
      <dgm:spPr/>
      <dgm:t>
        <a:bodyPr/>
        <a:lstStyle/>
        <a:p>
          <a:endParaRPr lang="en-US" sz="2800"/>
        </a:p>
      </dgm:t>
    </dgm:pt>
    <dgm:pt modelId="{D0F9B83B-A43B-4D94-A6DA-EAEE3FE23031}" type="sibTrans" cxnId="{F8AC9FCB-C9BC-498D-8745-9C6D31018EB9}">
      <dgm:prSet/>
      <dgm:spPr/>
      <dgm:t>
        <a:bodyPr/>
        <a:lstStyle/>
        <a:p>
          <a:endParaRPr lang="en-US" sz="2800"/>
        </a:p>
      </dgm:t>
    </dgm:pt>
    <dgm:pt modelId="{3B8AA88B-4BA0-486B-9BAF-D40303870F73}">
      <dgm:prSet custT="1"/>
      <dgm:spPr/>
      <dgm:t>
        <a:bodyPr/>
        <a:lstStyle/>
        <a:p>
          <a:r>
            <a:rPr lang="en-GB" sz="1800" baseline="0"/>
            <a:t>You cannot delete the system generated statistic</a:t>
          </a:r>
          <a:endParaRPr lang="en-US" sz="1800"/>
        </a:p>
      </dgm:t>
    </dgm:pt>
    <dgm:pt modelId="{4A109BEE-A5BC-472B-A3BF-896CF1929693}" type="parTrans" cxnId="{0D9C49F8-E8A8-4383-89B7-C2FA36694584}">
      <dgm:prSet/>
      <dgm:spPr/>
      <dgm:t>
        <a:bodyPr/>
        <a:lstStyle/>
        <a:p>
          <a:endParaRPr lang="en-US" sz="2800"/>
        </a:p>
      </dgm:t>
    </dgm:pt>
    <dgm:pt modelId="{E42F0C1B-DA31-4E55-8B69-F0906E570A26}" type="sibTrans" cxnId="{0D9C49F8-E8A8-4383-89B7-C2FA36694584}">
      <dgm:prSet/>
      <dgm:spPr/>
      <dgm:t>
        <a:bodyPr/>
        <a:lstStyle/>
        <a:p>
          <a:endParaRPr lang="en-US" sz="2800"/>
        </a:p>
      </dgm:t>
    </dgm:pt>
    <dgm:pt modelId="{09D73676-52A9-46F3-951E-48B63AE4353B}">
      <dgm:prSet custT="1"/>
      <dgm:spPr/>
      <dgm:t>
        <a:bodyPr/>
        <a:lstStyle/>
        <a:p>
          <a:r>
            <a:rPr lang="en-GB" sz="1800" baseline="0"/>
            <a:t>To get rid of system generated stats you must CTAS to a new table</a:t>
          </a:r>
          <a:endParaRPr lang="en-US" sz="1800"/>
        </a:p>
      </dgm:t>
    </dgm:pt>
    <dgm:pt modelId="{F9E76046-B644-4FB8-9445-1DD15448C39B}" type="parTrans" cxnId="{03CAF6D3-A139-4EAE-9BEC-EC67D4595BD8}">
      <dgm:prSet/>
      <dgm:spPr/>
      <dgm:t>
        <a:bodyPr/>
        <a:lstStyle/>
        <a:p>
          <a:endParaRPr lang="en-US" sz="2800"/>
        </a:p>
      </dgm:t>
    </dgm:pt>
    <dgm:pt modelId="{C3C99709-3E0E-48DD-B843-9BE2C075707E}" type="sibTrans" cxnId="{03CAF6D3-A139-4EAE-9BEC-EC67D4595BD8}">
      <dgm:prSet/>
      <dgm:spPr/>
      <dgm:t>
        <a:bodyPr/>
        <a:lstStyle/>
        <a:p>
          <a:endParaRPr lang="en-US" sz="2800"/>
        </a:p>
      </dgm:t>
    </dgm:pt>
    <dgm:pt modelId="{C4EC1ED2-5596-4092-AF5D-94270199275D}" type="pres">
      <dgm:prSet presAssocID="{254CFBE2-B424-4368-B83D-80D220A1D8B6}" presName="linear" presStyleCnt="0">
        <dgm:presLayoutVars>
          <dgm:dir/>
          <dgm:animLvl val="lvl"/>
          <dgm:resizeHandles val="exact"/>
        </dgm:presLayoutVars>
      </dgm:prSet>
      <dgm:spPr/>
    </dgm:pt>
    <dgm:pt modelId="{AF0143B2-1726-4F35-889A-3EEFE68093E1}" type="pres">
      <dgm:prSet presAssocID="{6B3C58E6-B55C-4509-8599-5714E03B987A}" presName="parentLin" presStyleCnt="0"/>
      <dgm:spPr/>
    </dgm:pt>
    <dgm:pt modelId="{ACA828F0-2F1A-4A41-B48A-9CD7C4D8C213}" type="pres">
      <dgm:prSet presAssocID="{6B3C58E6-B55C-4509-8599-5714E03B987A}" presName="parentLeftMargin" presStyleLbl="node1" presStyleIdx="0" presStyleCnt="5"/>
      <dgm:spPr/>
    </dgm:pt>
    <dgm:pt modelId="{41C4AA38-888F-496F-8EB0-28799C4F31A8}" type="pres">
      <dgm:prSet presAssocID="{6B3C58E6-B55C-4509-8599-5714E03B987A}" presName="parentText" presStyleLbl="node1" presStyleIdx="0" presStyleCnt="5" custScaleX="119740">
        <dgm:presLayoutVars>
          <dgm:chMax val="0"/>
          <dgm:bulletEnabled val="1"/>
        </dgm:presLayoutVars>
      </dgm:prSet>
      <dgm:spPr/>
    </dgm:pt>
    <dgm:pt modelId="{B383CA6B-4A3F-44AE-A6B5-2018BB7F4B3F}" type="pres">
      <dgm:prSet presAssocID="{6B3C58E6-B55C-4509-8599-5714E03B987A}" presName="negativeSpace" presStyleCnt="0"/>
      <dgm:spPr/>
    </dgm:pt>
    <dgm:pt modelId="{EC16270B-A642-4E0C-953B-552521BA42F1}" type="pres">
      <dgm:prSet presAssocID="{6B3C58E6-B55C-4509-8599-5714E03B987A}" presName="childText" presStyleLbl="conFgAcc1" presStyleIdx="0" presStyleCnt="5">
        <dgm:presLayoutVars>
          <dgm:bulletEnabled val="1"/>
        </dgm:presLayoutVars>
      </dgm:prSet>
      <dgm:spPr/>
    </dgm:pt>
    <dgm:pt modelId="{663B9B82-46AA-41AE-9E7A-FF40620659FB}" type="pres">
      <dgm:prSet presAssocID="{33C85517-5773-4806-A7CB-8B2A1949B31B}" presName="spaceBetweenRectangles" presStyleCnt="0"/>
      <dgm:spPr/>
    </dgm:pt>
    <dgm:pt modelId="{31C17E92-0A0A-476A-B421-27C12A3AA342}" type="pres">
      <dgm:prSet presAssocID="{DD2E7DCA-A4AB-489C-84AA-CD9D20D127FA}" presName="parentLin" presStyleCnt="0"/>
      <dgm:spPr/>
    </dgm:pt>
    <dgm:pt modelId="{28804119-1A8A-4690-B32E-C86C7FB19A10}" type="pres">
      <dgm:prSet presAssocID="{DD2E7DCA-A4AB-489C-84AA-CD9D20D127FA}" presName="parentLeftMargin" presStyleLbl="node1" presStyleIdx="0" presStyleCnt="5"/>
      <dgm:spPr/>
    </dgm:pt>
    <dgm:pt modelId="{A6DD5AF8-3A35-4BDC-931A-D6C549731729}" type="pres">
      <dgm:prSet presAssocID="{DD2E7DCA-A4AB-489C-84AA-CD9D20D127FA}" presName="parentText" presStyleLbl="node1" presStyleIdx="1" presStyleCnt="5" custScaleX="119740">
        <dgm:presLayoutVars>
          <dgm:chMax val="0"/>
          <dgm:bulletEnabled val="1"/>
        </dgm:presLayoutVars>
      </dgm:prSet>
      <dgm:spPr/>
    </dgm:pt>
    <dgm:pt modelId="{DD71577B-C583-4124-98EA-3F4B38EDF2D7}" type="pres">
      <dgm:prSet presAssocID="{DD2E7DCA-A4AB-489C-84AA-CD9D20D127FA}" presName="negativeSpace" presStyleCnt="0"/>
      <dgm:spPr/>
    </dgm:pt>
    <dgm:pt modelId="{21961793-03F2-496D-82BA-C61712D042DD}" type="pres">
      <dgm:prSet presAssocID="{DD2E7DCA-A4AB-489C-84AA-CD9D20D127FA}" presName="childText" presStyleLbl="conFgAcc1" presStyleIdx="1" presStyleCnt="5">
        <dgm:presLayoutVars>
          <dgm:bulletEnabled val="1"/>
        </dgm:presLayoutVars>
      </dgm:prSet>
      <dgm:spPr/>
    </dgm:pt>
    <dgm:pt modelId="{B575AF0A-18D5-4D10-BFFB-7CD87428F129}" type="pres">
      <dgm:prSet presAssocID="{704DD70C-8B95-481C-B0CD-903FF0080C66}" presName="spaceBetweenRectangles" presStyleCnt="0"/>
      <dgm:spPr/>
    </dgm:pt>
    <dgm:pt modelId="{2BF3396D-9C81-4445-BC75-2E89088C189B}" type="pres">
      <dgm:prSet presAssocID="{01E3D882-156E-4158-AA22-769AF2B79D7E}" presName="parentLin" presStyleCnt="0"/>
      <dgm:spPr/>
    </dgm:pt>
    <dgm:pt modelId="{79B9CF02-1736-4F1E-B299-B87222C8562B}" type="pres">
      <dgm:prSet presAssocID="{01E3D882-156E-4158-AA22-769AF2B79D7E}" presName="parentLeftMargin" presStyleLbl="node1" presStyleIdx="1" presStyleCnt="5"/>
      <dgm:spPr/>
    </dgm:pt>
    <dgm:pt modelId="{4A30E308-6479-4B95-8A03-CE0FBE384CE4}" type="pres">
      <dgm:prSet presAssocID="{01E3D882-156E-4158-AA22-769AF2B79D7E}" presName="parentText" presStyleLbl="node1" presStyleIdx="2" presStyleCnt="5" custScaleX="119740">
        <dgm:presLayoutVars>
          <dgm:chMax val="0"/>
          <dgm:bulletEnabled val="1"/>
        </dgm:presLayoutVars>
      </dgm:prSet>
      <dgm:spPr/>
    </dgm:pt>
    <dgm:pt modelId="{937147D3-4FA5-4702-966A-77FE766602B5}" type="pres">
      <dgm:prSet presAssocID="{01E3D882-156E-4158-AA22-769AF2B79D7E}" presName="negativeSpace" presStyleCnt="0"/>
      <dgm:spPr/>
    </dgm:pt>
    <dgm:pt modelId="{731836BD-7C86-49C1-A4D7-576824FDDD72}" type="pres">
      <dgm:prSet presAssocID="{01E3D882-156E-4158-AA22-769AF2B79D7E}" presName="childText" presStyleLbl="conFgAcc1" presStyleIdx="2" presStyleCnt="5">
        <dgm:presLayoutVars>
          <dgm:bulletEnabled val="1"/>
        </dgm:presLayoutVars>
      </dgm:prSet>
      <dgm:spPr/>
    </dgm:pt>
    <dgm:pt modelId="{4C1BB09D-1675-42C9-900B-64C1175B8220}" type="pres">
      <dgm:prSet presAssocID="{B7A8BDC6-B6B6-40EC-906B-86FBBAB6B741}" presName="spaceBetweenRectangles" presStyleCnt="0"/>
      <dgm:spPr/>
    </dgm:pt>
    <dgm:pt modelId="{EDE1DBAB-6805-4A2D-93A8-4518CD63DEF4}" type="pres">
      <dgm:prSet presAssocID="{6E8699C8-6898-475E-BDF1-D271AA344851}" presName="parentLin" presStyleCnt="0"/>
      <dgm:spPr/>
    </dgm:pt>
    <dgm:pt modelId="{349E7FD3-0290-4C0C-81DF-CA8C5A6E39FC}" type="pres">
      <dgm:prSet presAssocID="{6E8699C8-6898-475E-BDF1-D271AA344851}" presName="parentLeftMargin" presStyleLbl="node1" presStyleIdx="2" presStyleCnt="5"/>
      <dgm:spPr/>
    </dgm:pt>
    <dgm:pt modelId="{4D832976-5706-4E25-958B-CCB63433FEF4}" type="pres">
      <dgm:prSet presAssocID="{6E8699C8-6898-475E-BDF1-D271AA344851}" presName="parentText" presStyleLbl="node1" presStyleIdx="3" presStyleCnt="5" custScaleX="119740">
        <dgm:presLayoutVars>
          <dgm:chMax val="0"/>
          <dgm:bulletEnabled val="1"/>
        </dgm:presLayoutVars>
      </dgm:prSet>
      <dgm:spPr/>
    </dgm:pt>
    <dgm:pt modelId="{9BBB1C0A-47F7-4EF5-9584-41FD29A5C973}" type="pres">
      <dgm:prSet presAssocID="{6E8699C8-6898-475E-BDF1-D271AA344851}" presName="negativeSpace" presStyleCnt="0"/>
      <dgm:spPr/>
    </dgm:pt>
    <dgm:pt modelId="{03C31743-79E5-40E9-AA3C-CA13450DAB3C}" type="pres">
      <dgm:prSet presAssocID="{6E8699C8-6898-475E-BDF1-D271AA344851}" presName="childText" presStyleLbl="conFgAcc1" presStyleIdx="3" presStyleCnt="5">
        <dgm:presLayoutVars>
          <dgm:bulletEnabled val="1"/>
        </dgm:presLayoutVars>
      </dgm:prSet>
      <dgm:spPr/>
    </dgm:pt>
    <dgm:pt modelId="{564DE929-6D68-4464-B1F7-5C84D0839CA2}" type="pres">
      <dgm:prSet presAssocID="{6D93F9B2-9111-4B98-BF33-D9C89AB47402}" presName="spaceBetweenRectangles" presStyleCnt="0"/>
      <dgm:spPr/>
    </dgm:pt>
    <dgm:pt modelId="{2096696D-A131-49F9-A381-AA1878773EDE}" type="pres">
      <dgm:prSet presAssocID="{3B8AA88B-4BA0-486B-9BAF-D40303870F73}" presName="parentLin" presStyleCnt="0"/>
      <dgm:spPr/>
    </dgm:pt>
    <dgm:pt modelId="{1DC3D4AA-E537-42EF-9A8B-7B36FB2BB292}" type="pres">
      <dgm:prSet presAssocID="{3B8AA88B-4BA0-486B-9BAF-D40303870F73}" presName="parentLeftMargin" presStyleLbl="node1" presStyleIdx="3" presStyleCnt="5"/>
      <dgm:spPr/>
    </dgm:pt>
    <dgm:pt modelId="{AFED09B8-91B5-415D-BAEB-17231A3F0616}" type="pres">
      <dgm:prSet presAssocID="{3B8AA88B-4BA0-486B-9BAF-D40303870F73}" presName="parentText" presStyleLbl="node1" presStyleIdx="4" presStyleCnt="5" custScaleX="119740">
        <dgm:presLayoutVars>
          <dgm:chMax val="0"/>
          <dgm:bulletEnabled val="1"/>
        </dgm:presLayoutVars>
      </dgm:prSet>
      <dgm:spPr/>
    </dgm:pt>
    <dgm:pt modelId="{83F3476D-6475-4EBF-8270-F0AC0B5C2FEE}" type="pres">
      <dgm:prSet presAssocID="{3B8AA88B-4BA0-486B-9BAF-D40303870F73}" presName="negativeSpace" presStyleCnt="0"/>
      <dgm:spPr/>
    </dgm:pt>
    <dgm:pt modelId="{0682547F-EA14-4337-8DF5-F13181FFEFAF}" type="pres">
      <dgm:prSet presAssocID="{3B8AA88B-4BA0-486B-9BAF-D40303870F73}" presName="childText" presStyleLbl="conFgAcc1" presStyleIdx="4" presStyleCnt="5">
        <dgm:presLayoutVars>
          <dgm:bulletEnabled val="1"/>
        </dgm:presLayoutVars>
      </dgm:prSet>
      <dgm:spPr/>
    </dgm:pt>
  </dgm:ptLst>
  <dgm:cxnLst>
    <dgm:cxn modelId="{684DDC07-EA9E-44DA-B2A1-D96CD9AD6BCF}" srcId="{254CFBE2-B424-4368-B83D-80D220A1D8B6}" destId="{01E3D882-156E-4158-AA22-769AF2B79D7E}" srcOrd="2" destOrd="0" parTransId="{E1D5DFCC-A2B5-4EB8-AF6B-B7B948EDCDAE}" sibTransId="{B7A8BDC6-B6B6-40EC-906B-86FBBAB6B741}"/>
    <dgm:cxn modelId="{83FCF00C-FF7E-45BD-917A-C308E8D8B3E9}" type="presOf" srcId="{254CFBE2-B424-4368-B83D-80D220A1D8B6}" destId="{C4EC1ED2-5596-4092-AF5D-94270199275D}" srcOrd="0" destOrd="0" presId="urn:microsoft.com/office/officeart/2005/8/layout/list1"/>
    <dgm:cxn modelId="{1AF71D15-5653-492F-A418-2B2F4A6A7D1B}" srcId="{6B3C58E6-B55C-4509-8599-5714E03B987A}" destId="{1BD89DAC-55B4-42D1-93F8-014A58D073C0}" srcOrd="0" destOrd="0" parTransId="{C2B33DE5-4768-4E10-BE4B-D5655A40E686}" sibTransId="{EF2C5D5B-3341-42FF-AC2C-D1B49CFC8D68}"/>
    <dgm:cxn modelId="{5F62CA29-EB6A-45FA-BB71-9687EE4ADABF}" type="presOf" srcId="{DD2E7DCA-A4AB-489C-84AA-CD9D20D127FA}" destId="{A6DD5AF8-3A35-4BDC-931A-D6C549731729}" srcOrd="1" destOrd="0" presId="urn:microsoft.com/office/officeart/2005/8/layout/list1"/>
    <dgm:cxn modelId="{D5D4D236-FA29-4B5E-B964-98F393B8A2CA}" srcId="{254CFBE2-B424-4368-B83D-80D220A1D8B6}" destId="{DD2E7DCA-A4AB-489C-84AA-CD9D20D127FA}" srcOrd="1" destOrd="0" parTransId="{C16523F9-6B2A-47BD-A2AC-3ED915A26FBA}" sibTransId="{704DD70C-8B95-481C-B0CD-903FF0080C66}"/>
    <dgm:cxn modelId="{20414D60-73C6-41A7-B454-DE1A16A257A1}" type="presOf" srcId="{01E3D882-156E-4158-AA22-769AF2B79D7E}" destId="{4A30E308-6479-4B95-8A03-CE0FBE384CE4}" srcOrd="1" destOrd="0" presId="urn:microsoft.com/office/officeart/2005/8/layout/list1"/>
    <dgm:cxn modelId="{A29E8156-179F-408B-B93E-3792EFD65435}" type="presOf" srcId="{01E3D882-156E-4158-AA22-769AF2B79D7E}" destId="{79B9CF02-1736-4F1E-B299-B87222C8562B}" srcOrd="0" destOrd="0" presId="urn:microsoft.com/office/officeart/2005/8/layout/list1"/>
    <dgm:cxn modelId="{033E9458-76C0-4D98-9AFB-35632A9C2135}" type="presOf" srcId="{6B3C58E6-B55C-4509-8599-5714E03B987A}" destId="{41C4AA38-888F-496F-8EB0-28799C4F31A8}" srcOrd="1" destOrd="0" presId="urn:microsoft.com/office/officeart/2005/8/layout/list1"/>
    <dgm:cxn modelId="{DD347B79-CF41-490A-BDEB-49A578DCD27C}" type="presOf" srcId="{3B8AA88B-4BA0-486B-9BAF-D40303870F73}" destId="{1DC3D4AA-E537-42EF-9A8B-7B36FB2BB292}" srcOrd="0" destOrd="0" presId="urn:microsoft.com/office/officeart/2005/8/layout/list1"/>
    <dgm:cxn modelId="{172CD159-1B30-4A75-88B3-567ED1390AE6}" type="presOf" srcId="{6E8699C8-6898-475E-BDF1-D271AA344851}" destId="{4D832976-5706-4E25-958B-CCB63433FEF4}" srcOrd="1" destOrd="0" presId="urn:microsoft.com/office/officeart/2005/8/layout/list1"/>
    <dgm:cxn modelId="{E4A2988E-C82C-46E8-8734-12D7E26E3AB7}" srcId="{254CFBE2-B424-4368-B83D-80D220A1D8B6}" destId="{6E8699C8-6898-475E-BDF1-D271AA344851}" srcOrd="3" destOrd="0" parTransId="{6BF97ED7-C2C8-49F2-A006-07395CE25983}" sibTransId="{6D93F9B2-9111-4B98-BF33-D9C89AB47402}"/>
    <dgm:cxn modelId="{F2C609A4-5C30-4D29-8DC4-16028D663533}" type="presOf" srcId="{6E8699C8-6898-475E-BDF1-D271AA344851}" destId="{349E7FD3-0290-4C0C-81DF-CA8C5A6E39FC}" srcOrd="0" destOrd="0" presId="urn:microsoft.com/office/officeart/2005/8/layout/list1"/>
    <dgm:cxn modelId="{0D67FBBD-B5A8-4312-BEE2-81754222CE73}" srcId="{254CFBE2-B424-4368-B83D-80D220A1D8B6}" destId="{6B3C58E6-B55C-4509-8599-5714E03B987A}" srcOrd="0" destOrd="0" parTransId="{FDEAD0BA-AB17-4338-8077-A11C691ABA6F}" sibTransId="{33C85517-5773-4806-A7CB-8B2A1949B31B}"/>
    <dgm:cxn modelId="{F8AC9FCB-C9BC-498D-8745-9C6D31018EB9}" srcId="{6E8699C8-6898-475E-BDF1-D271AA344851}" destId="{725E7FB5-4EC0-41F5-923E-6AC2AD86A576}" srcOrd="0" destOrd="0" parTransId="{F9A7A9A4-0B60-4906-B49F-08723D2C881F}" sibTransId="{D0F9B83B-A43B-4D94-A6DA-EAEE3FE23031}"/>
    <dgm:cxn modelId="{2940BECC-F1BA-4775-A663-697C9E8288B4}" srcId="{DD2E7DCA-A4AB-489C-84AA-CD9D20D127FA}" destId="{4924FC10-1034-45C1-A4B7-01A67E58381C}" srcOrd="0" destOrd="0" parTransId="{9B345F94-2C38-4CC8-802B-47151C0C7B73}" sibTransId="{94249385-15F0-41FB-8FE0-E49605A3B5B1}"/>
    <dgm:cxn modelId="{571FC7D0-D774-4AA1-93C6-04A329442660}" type="presOf" srcId="{5CDABC6C-AF69-4940-A56C-E0270E64ECDC}" destId="{731836BD-7C86-49C1-A4D7-576824FDDD72}" srcOrd="0" destOrd="0" presId="urn:microsoft.com/office/officeart/2005/8/layout/list1"/>
    <dgm:cxn modelId="{03CAF6D3-A139-4EAE-9BEC-EC67D4595BD8}" srcId="{3B8AA88B-4BA0-486B-9BAF-D40303870F73}" destId="{09D73676-52A9-46F3-951E-48B63AE4353B}" srcOrd="0" destOrd="0" parTransId="{F9E76046-B644-4FB8-9445-1DD15448C39B}" sibTransId="{C3C99709-3E0E-48DD-B843-9BE2C075707E}"/>
    <dgm:cxn modelId="{663934DA-7C9C-426D-AA67-79F134802B72}" type="presOf" srcId="{4924FC10-1034-45C1-A4B7-01A67E58381C}" destId="{21961793-03F2-496D-82BA-C61712D042DD}" srcOrd="0" destOrd="0" presId="urn:microsoft.com/office/officeart/2005/8/layout/list1"/>
    <dgm:cxn modelId="{E95DE3EA-C20A-4D9B-843D-40C1E1FE1772}" type="presOf" srcId="{09D73676-52A9-46F3-951E-48B63AE4353B}" destId="{0682547F-EA14-4337-8DF5-F13181FFEFAF}" srcOrd="0" destOrd="0" presId="urn:microsoft.com/office/officeart/2005/8/layout/list1"/>
    <dgm:cxn modelId="{E4881CEC-234C-4978-AE70-958D569FD985}" type="presOf" srcId="{6B3C58E6-B55C-4509-8599-5714E03B987A}" destId="{ACA828F0-2F1A-4A41-B48A-9CD7C4D8C213}" srcOrd="0" destOrd="0" presId="urn:microsoft.com/office/officeart/2005/8/layout/list1"/>
    <dgm:cxn modelId="{6BF820EC-D058-49D1-A521-7738EF506652}" type="presOf" srcId="{3B8AA88B-4BA0-486B-9BAF-D40303870F73}" destId="{AFED09B8-91B5-415D-BAEB-17231A3F0616}" srcOrd="1" destOrd="0" presId="urn:microsoft.com/office/officeart/2005/8/layout/list1"/>
    <dgm:cxn modelId="{917105F1-757E-4F56-81AD-BC10367B2534}" type="presOf" srcId="{1BD89DAC-55B4-42D1-93F8-014A58D073C0}" destId="{EC16270B-A642-4E0C-953B-552521BA42F1}" srcOrd="0" destOrd="0" presId="urn:microsoft.com/office/officeart/2005/8/layout/list1"/>
    <dgm:cxn modelId="{2F30D2F6-EC46-4035-9941-2660B0FCF48A}" type="presOf" srcId="{725E7FB5-4EC0-41F5-923E-6AC2AD86A576}" destId="{03C31743-79E5-40E9-AA3C-CA13450DAB3C}" srcOrd="0" destOrd="0" presId="urn:microsoft.com/office/officeart/2005/8/layout/list1"/>
    <dgm:cxn modelId="{0D9C49F8-E8A8-4383-89B7-C2FA36694584}" srcId="{254CFBE2-B424-4368-B83D-80D220A1D8B6}" destId="{3B8AA88B-4BA0-486B-9BAF-D40303870F73}" srcOrd="4" destOrd="0" parTransId="{4A109BEE-A5BC-472B-A3BF-896CF1929693}" sibTransId="{E42F0C1B-DA31-4E55-8B69-F0906E570A26}"/>
    <dgm:cxn modelId="{8A0D3AF9-9502-458F-ABE9-3DF2EF7FB573}" srcId="{01E3D882-156E-4158-AA22-769AF2B79D7E}" destId="{5CDABC6C-AF69-4940-A56C-E0270E64ECDC}" srcOrd="0" destOrd="0" parTransId="{B6DF247E-EB0A-4EAB-8A01-726D5604F460}" sibTransId="{CEC1B359-D352-4298-A5C5-6E6CBA0B7441}"/>
    <dgm:cxn modelId="{9C2F69FE-09F5-43D9-AC6E-D1A479802571}" type="presOf" srcId="{DD2E7DCA-A4AB-489C-84AA-CD9D20D127FA}" destId="{28804119-1A8A-4690-B32E-C86C7FB19A10}" srcOrd="0" destOrd="0" presId="urn:microsoft.com/office/officeart/2005/8/layout/list1"/>
    <dgm:cxn modelId="{77743FA7-F735-4745-8852-3304A9A93EDE}" type="presParOf" srcId="{C4EC1ED2-5596-4092-AF5D-94270199275D}" destId="{AF0143B2-1726-4F35-889A-3EEFE68093E1}" srcOrd="0" destOrd="0" presId="urn:microsoft.com/office/officeart/2005/8/layout/list1"/>
    <dgm:cxn modelId="{AB996D4D-1DAB-446B-9080-26B01D60CF1D}" type="presParOf" srcId="{AF0143B2-1726-4F35-889A-3EEFE68093E1}" destId="{ACA828F0-2F1A-4A41-B48A-9CD7C4D8C213}" srcOrd="0" destOrd="0" presId="urn:microsoft.com/office/officeart/2005/8/layout/list1"/>
    <dgm:cxn modelId="{26E0FA45-B375-41DB-9141-90AA4155557C}" type="presParOf" srcId="{AF0143B2-1726-4F35-889A-3EEFE68093E1}" destId="{41C4AA38-888F-496F-8EB0-28799C4F31A8}" srcOrd="1" destOrd="0" presId="urn:microsoft.com/office/officeart/2005/8/layout/list1"/>
    <dgm:cxn modelId="{7CEAFB7B-5F73-4301-B295-E618B0D8278D}" type="presParOf" srcId="{C4EC1ED2-5596-4092-AF5D-94270199275D}" destId="{B383CA6B-4A3F-44AE-A6B5-2018BB7F4B3F}" srcOrd="1" destOrd="0" presId="urn:microsoft.com/office/officeart/2005/8/layout/list1"/>
    <dgm:cxn modelId="{9B279CEE-4324-488B-8E42-B07A7862E81A}" type="presParOf" srcId="{C4EC1ED2-5596-4092-AF5D-94270199275D}" destId="{EC16270B-A642-4E0C-953B-552521BA42F1}" srcOrd="2" destOrd="0" presId="urn:microsoft.com/office/officeart/2005/8/layout/list1"/>
    <dgm:cxn modelId="{771A3E29-E9FC-4961-95D8-CD272563F391}" type="presParOf" srcId="{C4EC1ED2-5596-4092-AF5D-94270199275D}" destId="{663B9B82-46AA-41AE-9E7A-FF40620659FB}" srcOrd="3" destOrd="0" presId="urn:microsoft.com/office/officeart/2005/8/layout/list1"/>
    <dgm:cxn modelId="{F7928802-CD17-43F4-B7FD-7734B1BDC671}" type="presParOf" srcId="{C4EC1ED2-5596-4092-AF5D-94270199275D}" destId="{31C17E92-0A0A-476A-B421-27C12A3AA342}" srcOrd="4" destOrd="0" presId="urn:microsoft.com/office/officeart/2005/8/layout/list1"/>
    <dgm:cxn modelId="{0A157F90-5265-40D8-8A04-031D621B1640}" type="presParOf" srcId="{31C17E92-0A0A-476A-B421-27C12A3AA342}" destId="{28804119-1A8A-4690-B32E-C86C7FB19A10}" srcOrd="0" destOrd="0" presId="urn:microsoft.com/office/officeart/2005/8/layout/list1"/>
    <dgm:cxn modelId="{5C0ADB9C-81F2-40ED-BFCA-1AD131A2806A}" type="presParOf" srcId="{31C17E92-0A0A-476A-B421-27C12A3AA342}" destId="{A6DD5AF8-3A35-4BDC-931A-D6C549731729}" srcOrd="1" destOrd="0" presId="urn:microsoft.com/office/officeart/2005/8/layout/list1"/>
    <dgm:cxn modelId="{9139D7E5-4A5A-4566-A5A8-5ADF27F016B3}" type="presParOf" srcId="{C4EC1ED2-5596-4092-AF5D-94270199275D}" destId="{DD71577B-C583-4124-98EA-3F4B38EDF2D7}" srcOrd="5" destOrd="0" presId="urn:microsoft.com/office/officeart/2005/8/layout/list1"/>
    <dgm:cxn modelId="{0D2D20D5-B8A6-4F66-B0A6-454704DA1D3E}" type="presParOf" srcId="{C4EC1ED2-5596-4092-AF5D-94270199275D}" destId="{21961793-03F2-496D-82BA-C61712D042DD}" srcOrd="6" destOrd="0" presId="urn:microsoft.com/office/officeart/2005/8/layout/list1"/>
    <dgm:cxn modelId="{C7649557-C84B-4567-A686-D4F7EA77AD5A}" type="presParOf" srcId="{C4EC1ED2-5596-4092-AF5D-94270199275D}" destId="{B575AF0A-18D5-4D10-BFFB-7CD87428F129}" srcOrd="7" destOrd="0" presId="urn:microsoft.com/office/officeart/2005/8/layout/list1"/>
    <dgm:cxn modelId="{ACEE853D-678A-48A4-B78E-4DD1FAB77DF9}" type="presParOf" srcId="{C4EC1ED2-5596-4092-AF5D-94270199275D}" destId="{2BF3396D-9C81-4445-BC75-2E89088C189B}" srcOrd="8" destOrd="0" presId="urn:microsoft.com/office/officeart/2005/8/layout/list1"/>
    <dgm:cxn modelId="{736C6390-C810-46B4-A2CB-475C63BAB93B}" type="presParOf" srcId="{2BF3396D-9C81-4445-BC75-2E89088C189B}" destId="{79B9CF02-1736-4F1E-B299-B87222C8562B}" srcOrd="0" destOrd="0" presId="urn:microsoft.com/office/officeart/2005/8/layout/list1"/>
    <dgm:cxn modelId="{2F59B309-8A71-477C-BB4B-102ECA7AAB38}" type="presParOf" srcId="{2BF3396D-9C81-4445-BC75-2E89088C189B}" destId="{4A30E308-6479-4B95-8A03-CE0FBE384CE4}" srcOrd="1" destOrd="0" presId="urn:microsoft.com/office/officeart/2005/8/layout/list1"/>
    <dgm:cxn modelId="{298E9996-0A64-49F1-8883-2CC19EEA0B71}" type="presParOf" srcId="{C4EC1ED2-5596-4092-AF5D-94270199275D}" destId="{937147D3-4FA5-4702-966A-77FE766602B5}" srcOrd="9" destOrd="0" presId="urn:microsoft.com/office/officeart/2005/8/layout/list1"/>
    <dgm:cxn modelId="{DE13A55C-3212-40ED-9C4E-7B9B563D3563}" type="presParOf" srcId="{C4EC1ED2-5596-4092-AF5D-94270199275D}" destId="{731836BD-7C86-49C1-A4D7-576824FDDD72}" srcOrd="10" destOrd="0" presId="urn:microsoft.com/office/officeart/2005/8/layout/list1"/>
    <dgm:cxn modelId="{32F9A905-1FF5-4825-996C-A7C55A8F4E6B}" type="presParOf" srcId="{C4EC1ED2-5596-4092-AF5D-94270199275D}" destId="{4C1BB09D-1675-42C9-900B-64C1175B8220}" srcOrd="11" destOrd="0" presId="urn:microsoft.com/office/officeart/2005/8/layout/list1"/>
    <dgm:cxn modelId="{B6D9C124-F752-4162-88C6-F406A0C1E380}" type="presParOf" srcId="{C4EC1ED2-5596-4092-AF5D-94270199275D}" destId="{EDE1DBAB-6805-4A2D-93A8-4518CD63DEF4}" srcOrd="12" destOrd="0" presId="urn:microsoft.com/office/officeart/2005/8/layout/list1"/>
    <dgm:cxn modelId="{D2403DF3-2770-416D-BF8D-B91A36A3C012}" type="presParOf" srcId="{EDE1DBAB-6805-4A2D-93A8-4518CD63DEF4}" destId="{349E7FD3-0290-4C0C-81DF-CA8C5A6E39FC}" srcOrd="0" destOrd="0" presId="urn:microsoft.com/office/officeart/2005/8/layout/list1"/>
    <dgm:cxn modelId="{486676C8-D705-43C4-B417-ECBD97EC7CDD}" type="presParOf" srcId="{EDE1DBAB-6805-4A2D-93A8-4518CD63DEF4}" destId="{4D832976-5706-4E25-958B-CCB63433FEF4}" srcOrd="1" destOrd="0" presId="urn:microsoft.com/office/officeart/2005/8/layout/list1"/>
    <dgm:cxn modelId="{AE044AB1-332B-47D7-830F-7C8684F82D55}" type="presParOf" srcId="{C4EC1ED2-5596-4092-AF5D-94270199275D}" destId="{9BBB1C0A-47F7-4EF5-9584-41FD29A5C973}" srcOrd="13" destOrd="0" presId="urn:microsoft.com/office/officeart/2005/8/layout/list1"/>
    <dgm:cxn modelId="{49BB99F6-EBBB-40C4-B47F-2A3BB62A0DD8}" type="presParOf" srcId="{C4EC1ED2-5596-4092-AF5D-94270199275D}" destId="{03C31743-79E5-40E9-AA3C-CA13450DAB3C}" srcOrd="14" destOrd="0" presId="urn:microsoft.com/office/officeart/2005/8/layout/list1"/>
    <dgm:cxn modelId="{F6A0C42A-76EF-42CD-B659-EB53CDFBB8D9}" type="presParOf" srcId="{C4EC1ED2-5596-4092-AF5D-94270199275D}" destId="{564DE929-6D68-4464-B1F7-5C84D0839CA2}" srcOrd="15" destOrd="0" presId="urn:microsoft.com/office/officeart/2005/8/layout/list1"/>
    <dgm:cxn modelId="{AB9758F9-D42D-43E1-9016-8E0C38970B3A}" type="presParOf" srcId="{C4EC1ED2-5596-4092-AF5D-94270199275D}" destId="{2096696D-A131-49F9-A381-AA1878773EDE}" srcOrd="16" destOrd="0" presId="urn:microsoft.com/office/officeart/2005/8/layout/list1"/>
    <dgm:cxn modelId="{1F4BEAFC-A3F9-4200-8206-1814812268FD}" type="presParOf" srcId="{2096696D-A131-49F9-A381-AA1878773EDE}" destId="{1DC3D4AA-E537-42EF-9A8B-7B36FB2BB292}" srcOrd="0" destOrd="0" presId="urn:microsoft.com/office/officeart/2005/8/layout/list1"/>
    <dgm:cxn modelId="{6236F996-27F5-49F4-91EE-1678D3F3C220}" type="presParOf" srcId="{2096696D-A131-49F9-A381-AA1878773EDE}" destId="{AFED09B8-91B5-415D-BAEB-17231A3F0616}" srcOrd="1" destOrd="0" presId="urn:microsoft.com/office/officeart/2005/8/layout/list1"/>
    <dgm:cxn modelId="{0704BC05-D43C-4F45-9EDC-15320D9129E4}" type="presParOf" srcId="{C4EC1ED2-5596-4092-AF5D-94270199275D}" destId="{83F3476D-6475-4EBF-8270-F0AC0B5C2FEE}" srcOrd="17" destOrd="0" presId="urn:microsoft.com/office/officeart/2005/8/layout/list1"/>
    <dgm:cxn modelId="{6B278BDE-F2E3-4DDF-B264-58A9057D1074}" type="presParOf" srcId="{C4EC1ED2-5596-4092-AF5D-94270199275D}" destId="{0682547F-EA14-4337-8DF5-F13181FFEFAF}"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BBA17CF-7C58-4A27-ACFA-9FB825595270}"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E8232986-A281-4357-8870-3987074EEB5A}">
      <dgm:prSet custT="1"/>
      <dgm:spPr/>
      <dgm:t>
        <a:bodyPr/>
        <a:lstStyle/>
        <a:p>
          <a:r>
            <a:rPr lang="en-GB" sz="2000" baseline="0"/>
            <a:t>Used for controlled workloads</a:t>
          </a:r>
          <a:endParaRPr lang="en-US" sz="2000"/>
        </a:p>
      </dgm:t>
    </dgm:pt>
    <dgm:pt modelId="{A5BC9A88-9B77-4D38-A483-10363440A9BD}" type="parTrans" cxnId="{28E3A733-D759-4DB0-ACDB-E92275333113}">
      <dgm:prSet/>
      <dgm:spPr/>
      <dgm:t>
        <a:bodyPr/>
        <a:lstStyle/>
        <a:p>
          <a:endParaRPr lang="en-US"/>
        </a:p>
      </dgm:t>
    </dgm:pt>
    <dgm:pt modelId="{61FE30A8-1F6F-45DA-8F58-B76F5B166966}" type="sibTrans" cxnId="{28E3A733-D759-4DB0-ACDB-E92275333113}">
      <dgm:prSet/>
      <dgm:spPr/>
      <dgm:t>
        <a:bodyPr/>
        <a:lstStyle/>
        <a:p>
          <a:endParaRPr lang="en-US"/>
        </a:p>
      </dgm:t>
    </dgm:pt>
    <dgm:pt modelId="{DCE80267-2BC4-4DA8-A67A-B6DED58D4619}">
      <dgm:prSet custT="1"/>
      <dgm:spPr/>
      <dgm:t>
        <a:bodyPr/>
        <a:lstStyle/>
        <a:p>
          <a:r>
            <a:rPr lang="en-GB" sz="2000" baseline="0"/>
            <a:t>Cover columns used by following clauses</a:t>
          </a:r>
          <a:endParaRPr lang="en-US" sz="2000"/>
        </a:p>
      </dgm:t>
    </dgm:pt>
    <dgm:pt modelId="{E917C049-2F73-4B06-866A-652B26A78A85}" type="parTrans" cxnId="{1287169A-17FD-442B-8B4B-65AD8EC638AF}">
      <dgm:prSet/>
      <dgm:spPr/>
      <dgm:t>
        <a:bodyPr/>
        <a:lstStyle/>
        <a:p>
          <a:endParaRPr lang="en-US"/>
        </a:p>
      </dgm:t>
    </dgm:pt>
    <dgm:pt modelId="{9F663A65-F361-4ABD-930C-F98C85CCAA34}" type="sibTrans" cxnId="{1287169A-17FD-442B-8B4B-65AD8EC638AF}">
      <dgm:prSet/>
      <dgm:spPr/>
      <dgm:t>
        <a:bodyPr/>
        <a:lstStyle/>
        <a:p>
          <a:endParaRPr lang="en-US"/>
        </a:p>
      </dgm:t>
    </dgm:pt>
    <dgm:pt modelId="{EA86D809-5D0E-474E-B6AB-E1059F246783}">
      <dgm:prSet custT="1"/>
      <dgm:spPr/>
      <dgm:t>
        <a:bodyPr/>
        <a:lstStyle/>
        <a:p>
          <a:r>
            <a:rPr lang="en-GB" sz="2000" baseline="0"/>
            <a:t>WHERE</a:t>
          </a:r>
          <a:endParaRPr lang="en-US" sz="2000"/>
        </a:p>
      </dgm:t>
    </dgm:pt>
    <dgm:pt modelId="{9C37B101-69CE-4281-AC33-A50BD1E0CEFC}" type="parTrans" cxnId="{3BEEC399-0F54-4713-8296-E7C4C6D1EA05}">
      <dgm:prSet/>
      <dgm:spPr/>
      <dgm:t>
        <a:bodyPr/>
        <a:lstStyle/>
        <a:p>
          <a:endParaRPr lang="en-US"/>
        </a:p>
      </dgm:t>
    </dgm:pt>
    <dgm:pt modelId="{859E4874-C17B-480C-937B-B58868750420}" type="sibTrans" cxnId="{3BEEC399-0F54-4713-8296-E7C4C6D1EA05}">
      <dgm:prSet/>
      <dgm:spPr/>
      <dgm:t>
        <a:bodyPr/>
        <a:lstStyle/>
        <a:p>
          <a:endParaRPr lang="en-US"/>
        </a:p>
      </dgm:t>
    </dgm:pt>
    <dgm:pt modelId="{3F19EF40-4B11-4882-9DCF-7985DB2E1440}">
      <dgm:prSet custT="1"/>
      <dgm:spPr/>
      <dgm:t>
        <a:bodyPr/>
        <a:lstStyle/>
        <a:p>
          <a:r>
            <a:rPr lang="en-GB" sz="2000" baseline="0"/>
            <a:t>JOIN</a:t>
          </a:r>
          <a:endParaRPr lang="en-US" sz="2000"/>
        </a:p>
      </dgm:t>
    </dgm:pt>
    <dgm:pt modelId="{C7221EFE-F39B-4D58-9029-F659DA6E5BCE}" type="parTrans" cxnId="{3B6B0E3F-948A-4AF2-8B0F-7237C5FC71E9}">
      <dgm:prSet/>
      <dgm:spPr/>
      <dgm:t>
        <a:bodyPr/>
        <a:lstStyle/>
        <a:p>
          <a:endParaRPr lang="en-US"/>
        </a:p>
      </dgm:t>
    </dgm:pt>
    <dgm:pt modelId="{7833D144-93DF-45C2-8F4C-9BB10486DDD5}" type="sibTrans" cxnId="{3B6B0E3F-948A-4AF2-8B0F-7237C5FC71E9}">
      <dgm:prSet/>
      <dgm:spPr/>
      <dgm:t>
        <a:bodyPr/>
        <a:lstStyle/>
        <a:p>
          <a:endParaRPr lang="en-US"/>
        </a:p>
      </dgm:t>
    </dgm:pt>
    <dgm:pt modelId="{E092B754-2173-4365-90F5-B297A9939ADD}">
      <dgm:prSet custT="1"/>
      <dgm:spPr/>
      <dgm:t>
        <a:bodyPr/>
        <a:lstStyle/>
        <a:p>
          <a:r>
            <a:rPr lang="en-GB" sz="2000" baseline="0"/>
            <a:t>GROUP BY</a:t>
          </a:r>
          <a:endParaRPr lang="en-US" sz="2000"/>
        </a:p>
      </dgm:t>
    </dgm:pt>
    <dgm:pt modelId="{3663D88C-8132-4FBF-91DA-397872FA1361}" type="parTrans" cxnId="{71FFE1FB-2F4F-4F0B-B951-DA214B902333}">
      <dgm:prSet/>
      <dgm:spPr/>
      <dgm:t>
        <a:bodyPr/>
        <a:lstStyle/>
        <a:p>
          <a:endParaRPr lang="en-US"/>
        </a:p>
      </dgm:t>
    </dgm:pt>
    <dgm:pt modelId="{7F8F6A71-50D6-418F-95E8-67FDE7F110A5}" type="sibTrans" cxnId="{71FFE1FB-2F4F-4F0B-B951-DA214B902333}">
      <dgm:prSet/>
      <dgm:spPr/>
      <dgm:t>
        <a:bodyPr/>
        <a:lstStyle/>
        <a:p>
          <a:endParaRPr lang="en-US"/>
        </a:p>
      </dgm:t>
    </dgm:pt>
    <dgm:pt modelId="{379A7E4D-0BAF-4893-874C-670F2E0F7B21}">
      <dgm:prSet custT="1"/>
      <dgm:spPr/>
      <dgm:t>
        <a:bodyPr/>
        <a:lstStyle/>
        <a:p>
          <a:r>
            <a:rPr lang="en-GB" sz="2000" baseline="0"/>
            <a:t>ORDER BY</a:t>
          </a:r>
          <a:endParaRPr lang="en-US" sz="2000"/>
        </a:p>
      </dgm:t>
    </dgm:pt>
    <dgm:pt modelId="{7374440D-BCE9-4B8C-8E5F-5FC5BD49160E}" type="parTrans" cxnId="{40349325-F56F-4C1C-9784-735C4148BEE9}">
      <dgm:prSet/>
      <dgm:spPr/>
      <dgm:t>
        <a:bodyPr/>
        <a:lstStyle/>
        <a:p>
          <a:endParaRPr lang="en-US"/>
        </a:p>
      </dgm:t>
    </dgm:pt>
    <dgm:pt modelId="{CC12E7EB-DF2E-4A8E-8915-84FC5D0C4F4A}" type="sibTrans" cxnId="{40349325-F56F-4C1C-9784-735C4148BEE9}">
      <dgm:prSet/>
      <dgm:spPr/>
      <dgm:t>
        <a:bodyPr/>
        <a:lstStyle/>
        <a:p>
          <a:endParaRPr lang="en-US"/>
        </a:p>
      </dgm:t>
    </dgm:pt>
    <dgm:pt modelId="{EB674F9B-D9C2-44A7-B723-DDA9D3AC602C}">
      <dgm:prSet custT="1"/>
      <dgm:spPr/>
      <dgm:t>
        <a:bodyPr/>
        <a:lstStyle/>
        <a:p>
          <a:r>
            <a:rPr lang="en-GB" sz="2000" baseline="0"/>
            <a:t>DISTINCT</a:t>
          </a:r>
          <a:endParaRPr lang="en-US" sz="2000"/>
        </a:p>
      </dgm:t>
    </dgm:pt>
    <dgm:pt modelId="{2C063302-6EB1-4EEC-88FB-C1C40A78E7CD}" type="parTrans" cxnId="{C7FE83A5-CFD7-42DF-9130-6A66BDEABA6B}">
      <dgm:prSet/>
      <dgm:spPr/>
      <dgm:t>
        <a:bodyPr/>
        <a:lstStyle/>
        <a:p>
          <a:endParaRPr lang="en-US"/>
        </a:p>
      </dgm:t>
    </dgm:pt>
    <dgm:pt modelId="{06F92603-F3AA-421F-93C0-520DED2FF71C}" type="sibTrans" cxnId="{C7FE83A5-CFD7-42DF-9130-6A66BDEABA6B}">
      <dgm:prSet/>
      <dgm:spPr/>
      <dgm:t>
        <a:bodyPr/>
        <a:lstStyle/>
        <a:p>
          <a:endParaRPr lang="en-US"/>
        </a:p>
      </dgm:t>
    </dgm:pt>
    <dgm:pt modelId="{392AD39B-00A2-4A7F-845C-B692624FE3F4}">
      <dgm:prSet custT="1"/>
      <dgm:spPr/>
      <dgm:t>
        <a:bodyPr/>
        <a:lstStyle/>
        <a:p>
          <a:r>
            <a:rPr lang="en-US" sz="3600"/>
            <a:t>Optimistic</a:t>
          </a:r>
          <a:endParaRPr lang="en-US" sz="3200"/>
        </a:p>
      </dgm:t>
    </dgm:pt>
    <dgm:pt modelId="{CCD69306-3647-4805-90EE-B1089235428C}" type="parTrans" cxnId="{C3612308-A4A8-4236-8A86-8C35AFBEA989}">
      <dgm:prSet/>
      <dgm:spPr/>
      <dgm:t>
        <a:bodyPr/>
        <a:lstStyle/>
        <a:p>
          <a:endParaRPr lang="en-US"/>
        </a:p>
      </dgm:t>
    </dgm:pt>
    <dgm:pt modelId="{99E20453-7367-44D1-ADE7-8D1AE751E8DB}" type="sibTrans" cxnId="{C3612308-A4A8-4236-8A86-8C35AFBEA989}">
      <dgm:prSet/>
      <dgm:spPr/>
      <dgm:t>
        <a:bodyPr/>
        <a:lstStyle/>
        <a:p>
          <a:endParaRPr lang="en-US"/>
        </a:p>
      </dgm:t>
    </dgm:pt>
    <dgm:pt modelId="{92262E7C-A701-4F99-BB61-649A93045A75}">
      <dgm:prSet custT="1"/>
      <dgm:spPr/>
      <dgm:t>
        <a:bodyPr/>
        <a:lstStyle/>
        <a:p>
          <a:r>
            <a:rPr lang="en-US" sz="3600"/>
            <a:t>Pessimistic</a:t>
          </a:r>
          <a:endParaRPr lang="en-US" sz="2100"/>
        </a:p>
      </dgm:t>
    </dgm:pt>
    <dgm:pt modelId="{38797F0C-BFAF-4E5E-BA9C-F0FA00025497}" type="parTrans" cxnId="{104095D0-0726-43AC-8DFE-0C943404DBF4}">
      <dgm:prSet/>
      <dgm:spPr/>
      <dgm:t>
        <a:bodyPr/>
        <a:lstStyle/>
        <a:p>
          <a:endParaRPr lang="en-US"/>
        </a:p>
      </dgm:t>
    </dgm:pt>
    <dgm:pt modelId="{AD43E715-E5C4-4BC0-9474-7A9D9979065D}" type="sibTrans" cxnId="{104095D0-0726-43AC-8DFE-0C943404DBF4}">
      <dgm:prSet/>
      <dgm:spPr/>
      <dgm:t>
        <a:bodyPr/>
        <a:lstStyle/>
        <a:p>
          <a:endParaRPr lang="en-US"/>
        </a:p>
      </dgm:t>
    </dgm:pt>
    <dgm:pt modelId="{820F8A62-88E7-4437-886B-6D978C4A56F4}">
      <dgm:prSet custT="1"/>
      <dgm:spPr/>
      <dgm:t>
        <a:bodyPr/>
        <a:lstStyle/>
        <a:p>
          <a:r>
            <a:rPr lang="en-GB" sz="2000"/>
            <a:t>One stat object on every column</a:t>
          </a:r>
        </a:p>
      </dgm:t>
    </dgm:pt>
    <dgm:pt modelId="{41030A4B-02CE-41A3-919E-F79A01DC38AA}" type="parTrans" cxnId="{DCA20909-2A3B-4155-8CE7-E1F8785C55B6}">
      <dgm:prSet/>
      <dgm:spPr/>
      <dgm:t>
        <a:bodyPr/>
        <a:lstStyle/>
        <a:p>
          <a:endParaRPr lang="en-US"/>
        </a:p>
      </dgm:t>
    </dgm:pt>
    <dgm:pt modelId="{8E41B998-DA0E-456A-873B-7CA4141B873E}" type="sibTrans" cxnId="{DCA20909-2A3B-4155-8CE7-E1F8785C55B6}">
      <dgm:prSet/>
      <dgm:spPr/>
      <dgm:t>
        <a:bodyPr/>
        <a:lstStyle/>
        <a:p>
          <a:endParaRPr lang="en-US"/>
        </a:p>
      </dgm:t>
    </dgm:pt>
    <dgm:pt modelId="{1355D9B0-E6BA-4402-9410-27618946A0E2}">
      <dgm:prSet custT="1"/>
      <dgm:spPr/>
      <dgm:t>
        <a:bodyPr/>
        <a:lstStyle/>
        <a:p>
          <a:r>
            <a:rPr lang="en-US" sz="2000"/>
            <a:t>Used for Ad-hoc workloads</a:t>
          </a:r>
        </a:p>
      </dgm:t>
    </dgm:pt>
    <dgm:pt modelId="{0E86B485-1EF0-49E6-BA9F-C1263DD1A29E}" type="parTrans" cxnId="{66022EA7-64DD-4489-87FA-A80BD714001A}">
      <dgm:prSet/>
      <dgm:spPr/>
      <dgm:t>
        <a:bodyPr/>
        <a:lstStyle/>
        <a:p>
          <a:endParaRPr lang="en-US"/>
        </a:p>
      </dgm:t>
    </dgm:pt>
    <dgm:pt modelId="{9B396622-7D8E-41B4-9440-58643D14D9A0}" type="sibTrans" cxnId="{66022EA7-64DD-4489-87FA-A80BD714001A}">
      <dgm:prSet/>
      <dgm:spPr/>
      <dgm:t>
        <a:bodyPr/>
        <a:lstStyle/>
        <a:p>
          <a:endParaRPr lang="en-US"/>
        </a:p>
      </dgm:t>
    </dgm:pt>
    <dgm:pt modelId="{8C3B50B2-DFE9-4D4B-8C2D-B54E7408CE9C}" type="pres">
      <dgm:prSet presAssocID="{2BBA17CF-7C58-4A27-ACFA-9FB825595270}" presName="Name0" presStyleCnt="0">
        <dgm:presLayoutVars>
          <dgm:dir/>
          <dgm:animLvl val="lvl"/>
          <dgm:resizeHandles val="exact"/>
        </dgm:presLayoutVars>
      </dgm:prSet>
      <dgm:spPr/>
    </dgm:pt>
    <dgm:pt modelId="{9DD22B5B-2331-4549-A1BF-8C4570C0D444}" type="pres">
      <dgm:prSet presAssocID="{392AD39B-00A2-4A7F-845C-B692624FE3F4}" presName="linNode" presStyleCnt="0"/>
      <dgm:spPr/>
    </dgm:pt>
    <dgm:pt modelId="{6BF18A78-D10D-4B52-8258-39F049BB54C9}" type="pres">
      <dgm:prSet presAssocID="{392AD39B-00A2-4A7F-845C-B692624FE3F4}" presName="parTx" presStyleLbl="revTx" presStyleIdx="0" presStyleCnt="2">
        <dgm:presLayoutVars>
          <dgm:chMax val="1"/>
          <dgm:bulletEnabled val="1"/>
        </dgm:presLayoutVars>
      </dgm:prSet>
      <dgm:spPr/>
    </dgm:pt>
    <dgm:pt modelId="{F21C6071-C620-4D3F-967D-ACE72E287201}" type="pres">
      <dgm:prSet presAssocID="{392AD39B-00A2-4A7F-845C-B692624FE3F4}" presName="bracket" presStyleLbl="parChTrans1D1" presStyleIdx="0" presStyleCnt="2"/>
      <dgm:spPr/>
    </dgm:pt>
    <dgm:pt modelId="{74972582-51A1-4A87-B12A-24F715EFD3C8}" type="pres">
      <dgm:prSet presAssocID="{392AD39B-00A2-4A7F-845C-B692624FE3F4}" presName="spH" presStyleCnt="0"/>
      <dgm:spPr/>
    </dgm:pt>
    <dgm:pt modelId="{510ED08D-C4A4-49FE-AA00-B61A12A4C6AD}" type="pres">
      <dgm:prSet presAssocID="{392AD39B-00A2-4A7F-845C-B692624FE3F4}" presName="desTx" presStyleLbl="node1" presStyleIdx="0" presStyleCnt="2">
        <dgm:presLayoutVars>
          <dgm:bulletEnabled val="1"/>
        </dgm:presLayoutVars>
      </dgm:prSet>
      <dgm:spPr/>
    </dgm:pt>
    <dgm:pt modelId="{DDE0167F-C196-40C4-968E-D0CDE838818C}" type="pres">
      <dgm:prSet presAssocID="{99E20453-7367-44D1-ADE7-8D1AE751E8DB}" presName="spV" presStyleCnt="0"/>
      <dgm:spPr/>
    </dgm:pt>
    <dgm:pt modelId="{8FECA930-646E-4F19-9684-E45CA137BD08}" type="pres">
      <dgm:prSet presAssocID="{92262E7C-A701-4F99-BB61-649A93045A75}" presName="linNode" presStyleCnt="0"/>
      <dgm:spPr/>
    </dgm:pt>
    <dgm:pt modelId="{C5C49A5D-E105-4DBA-B9B4-79322A425C1E}" type="pres">
      <dgm:prSet presAssocID="{92262E7C-A701-4F99-BB61-649A93045A75}" presName="parTx" presStyleLbl="revTx" presStyleIdx="1" presStyleCnt="2">
        <dgm:presLayoutVars>
          <dgm:chMax val="1"/>
          <dgm:bulletEnabled val="1"/>
        </dgm:presLayoutVars>
      </dgm:prSet>
      <dgm:spPr/>
    </dgm:pt>
    <dgm:pt modelId="{89BE5319-CC31-4067-9AFE-4B030593A593}" type="pres">
      <dgm:prSet presAssocID="{92262E7C-A701-4F99-BB61-649A93045A75}" presName="bracket" presStyleLbl="parChTrans1D1" presStyleIdx="1" presStyleCnt="2"/>
      <dgm:spPr/>
    </dgm:pt>
    <dgm:pt modelId="{86312195-32A5-4562-89FC-3096A78924F3}" type="pres">
      <dgm:prSet presAssocID="{92262E7C-A701-4F99-BB61-649A93045A75}" presName="spH" presStyleCnt="0"/>
      <dgm:spPr/>
    </dgm:pt>
    <dgm:pt modelId="{E014CB67-B5BB-4D62-BEF3-D68D3C67BA5F}" type="pres">
      <dgm:prSet presAssocID="{92262E7C-A701-4F99-BB61-649A93045A75}" presName="desTx" presStyleLbl="node1" presStyleIdx="1" presStyleCnt="2">
        <dgm:presLayoutVars>
          <dgm:bulletEnabled val="1"/>
        </dgm:presLayoutVars>
      </dgm:prSet>
      <dgm:spPr/>
    </dgm:pt>
  </dgm:ptLst>
  <dgm:cxnLst>
    <dgm:cxn modelId="{C3612308-A4A8-4236-8A86-8C35AFBEA989}" srcId="{2BBA17CF-7C58-4A27-ACFA-9FB825595270}" destId="{392AD39B-00A2-4A7F-845C-B692624FE3F4}" srcOrd="0" destOrd="0" parTransId="{CCD69306-3647-4805-90EE-B1089235428C}" sibTransId="{99E20453-7367-44D1-ADE7-8D1AE751E8DB}"/>
    <dgm:cxn modelId="{DCA20909-2A3B-4155-8CE7-E1F8785C55B6}" srcId="{92262E7C-A701-4F99-BB61-649A93045A75}" destId="{820F8A62-88E7-4437-886B-6D978C4A56F4}" srcOrd="1" destOrd="0" parTransId="{41030A4B-02CE-41A3-919E-F79A01DC38AA}" sibTransId="{8E41B998-DA0E-456A-873B-7CA4141B873E}"/>
    <dgm:cxn modelId="{40349325-F56F-4C1C-9784-735C4148BEE9}" srcId="{DCE80267-2BC4-4DA8-A67A-B6DED58D4619}" destId="{379A7E4D-0BAF-4893-874C-670F2E0F7B21}" srcOrd="3" destOrd="0" parTransId="{7374440D-BCE9-4B8C-8E5F-5FC5BD49160E}" sibTransId="{CC12E7EB-DF2E-4A8E-8915-84FC5D0C4F4A}"/>
    <dgm:cxn modelId="{28E3A733-D759-4DB0-ACDB-E92275333113}" srcId="{392AD39B-00A2-4A7F-845C-B692624FE3F4}" destId="{E8232986-A281-4357-8870-3987074EEB5A}" srcOrd="0" destOrd="0" parTransId="{A5BC9A88-9B77-4D38-A483-10363440A9BD}" sibTransId="{61FE30A8-1F6F-45DA-8F58-B76F5B166966}"/>
    <dgm:cxn modelId="{3B6B0E3F-948A-4AF2-8B0F-7237C5FC71E9}" srcId="{DCE80267-2BC4-4DA8-A67A-B6DED58D4619}" destId="{3F19EF40-4B11-4882-9DCF-7985DB2E1440}" srcOrd="1" destOrd="0" parTransId="{C7221EFE-F39B-4D58-9029-F659DA6E5BCE}" sibTransId="{7833D144-93DF-45C2-8F4C-9BB10486DDD5}"/>
    <dgm:cxn modelId="{8C4D2341-BF55-4327-9AD1-9621160498A1}" type="presOf" srcId="{392AD39B-00A2-4A7F-845C-B692624FE3F4}" destId="{6BF18A78-D10D-4B52-8258-39F049BB54C9}" srcOrd="0" destOrd="0" presId="urn:diagrams.loki3.com/BracketList"/>
    <dgm:cxn modelId="{8347B168-9973-45A9-BC42-6A16C39354B0}" type="presOf" srcId="{EA86D809-5D0E-474E-B6AB-E1059F246783}" destId="{510ED08D-C4A4-49FE-AA00-B61A12A4C6AD}" srcOrd="0" destOrd="2" presId="urn:diagrams.loki3.com/BracketList"/>
    <dgm:cxn modelId="{AC7FA049-41E0-427F-BE2B-201DD9734790}" type="presOf" srcId="{820F8A62-88E7-4437-886B-6D978C4A56F4}" destId="{E014CB67-B5BB-4D62-BEF3-D68D3C67BA5F}" srcOrd="0" destOrd="1" presId="urn:diagrams.loki3.com/BracketList"/>
    <dgm:cxn modelId="{5746A170-3871-4A58-BA90-9D928F59B28A}" type="presOf" srcId="{E092B754-2173-4365-90F5-B297A9939ADD}" destId="{510ED08D-C4A4-49FE-AA00-B61A12A4C6AD}" srcOrd="0" destOrd="4" presId="urn:diagrams.loki3.com/BracketList"/>
    <dgm:cxn modelId="{BB8EF577-1C2B-4F0F-8007-7A05227BAE4A}" type="presOf" srcId="{E8232986-A281-4357-8870-3987074EEB5A}" destId="{510ED08D-C4A4-49FE-AA00-B61A12A4C6AD}" srcOrd="0" destOrd="0" presId="urn:diagrams.loki3.com/BracketList"/>
    <dgm:cxn modelId="{D58F6098-E4BF-4D23-A62D-360F1D6A2C87}" type="presOf" srcId="{379A7E4D-0BAF-4893-874C-670F2E0F7B21}" destId="{510ED08D-C4A4-49FE-AA00-B61A12A4C6AD}" srcOrd="0" destOrd="5" presId="urn:diagrams.loki3.com/BracketList"/>
    <dgm:cxn modelId="{3BEEC399-0F54-4713-8296-E7C4C6D1EA05}" srcId="{DCE80267-2BC4-4DA8-A67A-B6DED58D4619}" destId="{EA86D809-5D0E-474E-B6AB-E1059F246783}" srcOrd="0" destOrd="0" parTransId="{9C37B101-69CE-4281-AC33-A50BD1E0CEFC}" sibTransId="{859E4874-C17B-480C-937B-B58868750420}"/>
    <dgm:cxn modelId="{1287169A-17FD-442B-8B4B-65AD8EC638AF}" srcId="{392AD39B-00A2-4A7F-845C-B692624FE3F4}" destId="{DCE80267-2BC4-4DA8-A67A-B6DED58D4619}" srcOrd="1" destOrd="0" parTransId="{E917C049-2F73-4B06-866A-652B26A78A85}" sibTransId="{9F663A65-F361-4ABD-930C-F98C85CCAA34}"/>
    <dgm:cxn modelId="{C7FE83A5-CFD7-42DF-9130-6A66BDEABA6B}" srcId="{DCE80267-2BC4-4DA8-A67A-B6DED58D4619}" destId="{EB674F9B-D9C2-44A7-B723-DDA9D3AC602C}" srcOrd="4" destOrd="0" parTransId="{2C063302-6EB1-4EEC-88FB-C1C40A78E7CD}" sibTransId="{06F92603-F3AA-421F-93C0-520DED2FF71C}"/>
    <dgm:cxn modelId="{66022EA7-64DD-4489-87FA-A80BD714001A}" srcId="{92262E7C-A701-4F99-BB61-649A93045A75}" destId="{1355D9B0-E6BA-4402-9410-27618946A0E2}" srcOrd="0" destOrd="0" parTransId="{0E86B485-1EF0-49E6-BA9F-C1263DD1A29E}" sibTransId="{9B396622-7D8E-41B4-9440-58643D14D9A0}"/>
    <dgm:cxn modelId="{05EA4CA8-1D9F-4534-9FDF-30267F1C66EE}" type="presOf" srcId="{2BBA17CF-7C58-4A27-ACFA-9FB825595270}" destId="{8C3B50B2-DFE9-4D4B-8C2D-B54E7408CE9C}" srcOrd="0" destOrd="0" presId="urn:diagrams.loki3.com/BracketList"/>
    <dgm:cxn modelId="{72FB97B9-590F-44BC-A964-CA56ED7976C6}" type="presOf" srcId="{92262E7C-A701-4F99-BB61-649A93045A75}" destId="{C5C49A5D-E105-4DBA-B9B4-79322A425C1E}" srcOrd="0" destOrd="0" presId="urn:diagrams.loki3.com/BracketList"/>
    <dgm:cxn modelId="{104095D0-0726-43AC-8DFE-0C943404DBF4}" srcId="{2BBA17CF-7C58-4A27-ACFA-9FB825595270}" destId="{92262E7C-A701-4F99-BB61-649A93045A75}" srcOrd="1" destOrd="0" parTransId="{38797F0C-BFAF-4E5E-BA9C-F0FA00025497}" sibTransId="{AD43E715-E5C4-4BC0-9474-7A9D9979065D}"/>
    <dgm:cxn modelId="{1F51E1D5-1EC2-48F2-B967-99CCD5C13AE9}" type="presOf" srcId="{DCE80267-2BC4-4DA8-A67A-B6DED58D4619}" destId="{510ED08D-C4A4-49FE-AA00-B61A12A4C6AD}" srcOrd="0" destOrd="1" presId="urn:diagrams.loki3.com/BracketList"/>
    <dgm:cxn modelId="{184704E8-540F-4C70-B2EF-5FDEA576B216}" type="presOf" srcId="{EB674F9B-D9C2-44A7-B723-DDA9D3AC602C}" destId="{510ED08D-C4A4-49FE-AA00-B61A12A4C6AD}" srcOrd="0" destOrd="6" presId="urn:diagrams.loki3.com/BracketList"/>
    <dgm:cxn modelId="{8DDADBF6-C3C8-4A00-839F-02574010AB70}" type="presOf" srcId="{1355D9B0-E6BA-4402-9410-27618946A0E2}" destId="{E014CB67-B5BB-4D62-BEF3-D68D3C67BA5F}" srcOrd="0" destOrd="0" presId="urn:diagrams.loki3.com/BracketList"/>
    <dgm:cxn modelId="{71FFE1FB-2F4F-4F0B-B951-DA214B902333}" srcId="{DCE80267-2BC4-4DA8-A67A-B6DED58D4619}" destId="{E092B754-2173-4365-90F5-B297A9939ADD}" srcOrd="2" destOrd="0" parTransId="{3663D88C-8132-4FBF-91DA-397872FA1361}" sibTransId="{7F8F6A71-50D6-418F-95E8-67FDE7F110A5}"/>
    <dgm:cxn modelId="{787BAFFD-68E0-45A0-AED8-463061D3CE30}" type="presOf" srcId="{3F19EF40-4B11-4882-9DCF-7985DB2E1440}" destId="{510ED08D-C4A4-49FE-AA00-B61A12A4C6AD}" srcOrd="0" destOrd="3" presId="urn:diagrams.loki3.com/BracketList"/>
    <dgm:cxn modelId="{8A37B8B3-16DA-4186-BE6D-0C1A89D8EAFE}" type="presParOf" srcId="{8C3B50B2-DFE9-4D4B-8C2D-B54E7408CE9C}" destId="{9DD22B5B-2331-4549-A1BF-8C4570C0D444}" srcOrd="0" destOrd="0" presId="urn:diagrams.loki3.com/BracketList"/>
    <dgm:cxn modelId="{4B3B11E1-7F13-4F05-8186-3E63C1F8637E}" type="presParOf" srcId="{9DD22B5B-2331-4549-A1BF-8C4570C0D444}" destId="{6BF18A78-D10D-4B52-8258-39F049BB54C9}" srcOrd="0" destOrd="0" presId="urn:diagrams.loki3.com/BracketList"/>
    <dgm:cxn modelId="{5A7EE760-4C57-4632-BB07-427A45C826FB}" type="presParOf" srcId="{9DD22B5B-2331-4549-A1BF-8C4570C0D444}" destId="{F21C6071-C620-4D3F-967D-ACE72E287201}" srcOrd="1" destOrd="0" presId="urn:diagrams.loki3.com/BracketList"/>
    <dgm:cxn modelId="{AC1AD1FE-6A8A-4884-892B-B66320B8C1E4}" type="presParOf" srcId="{9DD22B5B-2331-4549-A1BF-8C4570C0D444}" destId="{74972582-51A1-4A87-B12A-24F715EFD3C8}" srcOrd="2" destOrd="0" presId="urn:diagrams.loki3.com/BracketList"/>
    <dgm:cxn modelId="{4F9DA3EB-9860-46E0-9DF6-E9C7363112CB}" type="presParOf" srcId="{9DD22B5B-2331-4549-A1BF-8C4570C0D444}" destId="{510ED08D-C4A4-49FE-AA00-B61A12A4C6AD}" srcOrd="3" destOrd="0" presId="urn:diagrams.loki3.com/BracketList"/>
    <dgm:cxn modelId="{58507693-5BFD-433F-9B04-01CD24E06CD5}" type="presParOf" srcId="{8C3B50B2-DFE9-4D4B-8C2D-B54E7408CE9C}" destId="{DDE0167F-C196-40C4-968E-D0CDE838818C}" srcOrd="1" destOrd="0" presId="urn:diagrams.loki3.com/BracketList"/>
    <dgm:cxn modelId="{989029D5-E834-47AC-A562-DC99505EF50A}" type="presParOf" srcId="{8C3B50B2-DFE9-4D4B-8C2D-B54E7408CE9C}" destId="{8FECA930-646E-4F19-9684-E45CA137BD08}" srcOrd="2" destOrd="0" presId="urn:diagrams.loki3.com/BracketList"/>
    <dgm:cxn modelId="{3F483443-4FE5-49A8-B6B0-66D929CD01E9}" type="presParOf" srcId="{8FECA930-646E-4F19-9684-E45CA137BD08}" destId="{C5C49A5D-E105-4DBA-B9B4-79322A425C1E}" srcOrd="0" destOrd="0" presId="urn:diagrams.loki3.com/BracketList"/>
    <dgm:cxn modelId="{824C44E6-A886-41F1-979D-7AB18A7776DB}" type="presParOf" srcId="{8FECA930-646E-4F19-9684-E45CA137BD08}" destId="{89BE5319-CC31-4067-9AFE-4B030593A593}" srcOrd="1" destOrd="0" presId="urn:diagrams.loki3.com/BracketList"/>
    <dgm:cxn modelId="{53DC860E-FE12-470B-9C33-F2EC01FE4F53}" type="presParOf" srcId="{8FECA930-646E-4F19-9684-E45CA137BD08}" destId="{86312195-32A5-4562-89FC-3096A78924F3}" srcOrd="2" destOrd="0" presId="urn:diagrams.loki3.com/BracketList"/>
    <dgm:cxn modelId="{A940A2F1-F8EF-41C0-88A9-B5573DF2EA74}" type="presParOf" srcId="{8FECA930-646E-4F19-9684-E45CA137BD08}" destId="{E014CB67-B5BB-4D62-BEF3-D68D3C67BA5F}"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B8FB5245-E791-4AB6-981C-710E22F8939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6337DD7-877E-4BBC-A826-8FF8C7F4292C}">
      <dgm:prSet custT="1"/>
      <dgm:spPr/>
      <dgm:t>
        <a:bodyPr/>
        <a:lstStyle/>
        <a:p>
          <a:r>
            <a:rPr lang="en-GB" sz="2800" baseline="0"/>
            <a:t>Composite Joins </a:t>
          </a:r>
          <a:endParaRPr lang="en-US" sz="2800"/>
        </a:p>
      </dgm:t>
    </dgm:pt>
    <dgm:pt modelId="{F22B8522-64AA-43F4-96F0-6042434E02A2}" type="parTrans" cxnId="{6FAD395B-B0B1-4977-9934-7AA54274D82E}">
      <dgm:prSet/>
      <dgm:spPr/>
      <dgm:t>
        <a:bodyPr/>
        <a:lstStyle/>
        <a:p>
          <a:endParaRPr lang="en-US"/>
        </a:p>
      </dgm:t>
    </dgm:pt>
    <dgm:pt modelId="{C6A25CFB-E00D-4ED4-99E5-732DBD457754}" type="sibTrans" cxnId="{6FAD395B-B0B1-4977-9934-7AA54274D82E}">
      <dgm:prSet/>
      <dgm:spPr/>
      <dgm:t>
        <a:bodyPr/>
        <a:lstStyle/>
        <a:p>
          <a:endParaRPr lang="en-US"/>
        </a:p>
      </dgm:t>
    </dgm:pt>
    <dgm:pt modelId="{78CD6D19-D539-4257-BB57-A9AED6B97CFC}">
      <dgm:prSet custT="1"/>
      <dgm:spPr/>
      <dgm:t>
        <a:bodyPr/>
        <a:lstStyle/>
        <a:p>
          <a:r>
            <a:rPr lang="en-GB" sz="1800" baseline="0"/>
            <a:t>Equality join predicates only</a:t>
          </a:r>
          <a:endParaRPr lang="en-US" sz="1800"/>
        </a:p>
      </dgm:t>
    </dgm:pt>
    <dgm:pt modelId="{08994EBB-1E1C-436E-9EDB-9F03A09E13B2}" type="parTrans" cxnId="{E25BE5AE-D3D0-40C7-837A-C38C91223A61}">
      <dgm:prSet/>
      <dgm:spPr/>
      <dgm:t>
        <a:bodyPr/>
        <a:lstStyle/>
        <a:p>
          <a:endParaRPr lang="en-US"/>
        </a:p>
      </dgm:t>
    </dgm:pt>
    <dgm:pt modelId="{494FC9D5-6AF6-462A-9260-E905EAE2B338}" type="sibTrans" cxnId="{E25BE5AE-D3D0-40C7-837A-C38C91223A61}">
      <dgm:prSet/>
      <dgm:spPr/>
      <dgm:t>
        <a:bodyPr/>
        <a:lstStyle/>
        <a:p>
          <a:endParaRPr lang="en-US"/>
        </a:p>
      </dgm:t>
    </dgm:pt>
    <dgm:pt modelId="{FB4785B9-D3FD-4DF5-83DB-BC530C62606D}">
      <dgm:prSet custT="1"/>
      <dgm:spPr/>
      <dgm:t>
        <a:bodyPr/>
        <a:lstStyle/>
        <a:p>
          <a:r>
            <a:rPr lang="en-GB" sz="1800" baseline="0"/>
            <a:t>Avoids nested loop plans on SMP</a:t>
          </a:r>
          <a:endParaRPr lang="en-US" sz="1800"/>
        </a:p>
      </dgm:t>
    </dgm:pt>
    <dgm:pt modelId="{36C7502A-E344-4ADE-845D-78F65AECE9B7}" type="parTrans" cxnId="{A9F30CD2-6730-4C6A-A8EA-8C28EF762BEA}">
      <dgm:prSet/>
      <dgm:spPr/>
      <dgm:t>
        <a:bodyPr/>
        <a:lstStyle/>
        <a:p>
          <a:endParaRPr lang="en-US"/>
        </a:p>
      </dgm:t>
    </dgm:pt>
    <dgm:pt modelId="{E6DEE7D3-3373-43C2-839D-2C0B15D0D306}" type="sibTrans" cxnId="{A9F30CD2-6730-4C6A-A8EA-8C28EF762BEA}">
      <dgm:prSet/>
      <dgm:spPr/>
      <dgm:t>
        <a:bodyPr/>
        <a:lstStyle/>
        <a:p>
          <a:endParaRPr lang="en-US"/>
        </a:p>
      </dgm:t>
    </dgm:pt>
    <dgm:pt modelId="{ED2D938D-10BD-479C-8A9D-50195460004B}">
      <dgm:prSet custT="1"/>
      <dgm:spPr/>
      <dgm:t>
        <a:bodyPr/>
        <a:lstStyle/>
        <a:p>
          <a:r>
            <a:rPr lang="en-GB" sz="2800" baseline="0"/>
            <a:t>Composite Group By</a:t>
          </a:r>
          <a:endParaRPr lang="en-US" sz="2800"/>
        </a:p>
      </dgm:t>
    </dgm:pt>
    <dgm:pt modelId="{6F4C691C-FB95-4943-A787-C0F2D8D34BBA}" type="parTrans" cxnId="{4A6AEEBA-6E90-4E75-BB96-C5D4583247EF}">
      <dgm:prSet/>
      <dgm:spPr/>
      <dgm:t>
        <a:bodyPr/>
        <a:lstStyle/>
        <a:p>
          <a:endParaRPr lang="en-US"/>
        </a:p>
      </dgm:t>
    </dgm:pt>
    <dgm:pt modelId="{AD00CE86-9D99-4399-8FE8-5778F8CE4707}" type="sibTrans" cxnId="{4A6AEEBA-6E90-4E75-BB96-C5D4583247EF}">
      <dgm:prSet/>
      <dgm:spPr/>
      <dgm:t>
        <a:bodyPr/>
        <a:lstStyle/>
        <a:p>
          <a:endParaRPr lang="en-US"/>
        </a:p>
      </dgm:t>
    </dgm:pt>
    <dgm:pt modelId="{86CB8C18-616B-40DE-98ED-EE6503439AF1}">
      <dgm:prSet custT="1"/>
      <dgm:spPr/>
      <dgm:t>
        <a:bodyPr/>
        <a:lstStyle/>
        <a:p>
          <a:r>
            <a:rPr lang="en-GB" sz="1800" baseline="0" dirty="0"/>
            <a:t>Improves Cardinality Estimate of Aggregation</a:t>
          </a:r>
          <a:endParaRPr lang="en-US" sz="1800" dirty="0"/>
        </a:p>
      </dgm:t>
    </dgm:pt>
    <dgm:pt modelId="{16E35AC4-FE07-41AD-8328-73A60CFA9A89}" type="parTrans" cxnId="{C7436692-B09E-4621-8B53-73E73230CAC4}">
      <dgm:prSet/>
      <dgm:spPr/>
      <dgm:t>
        <a:bodyPr/>
        <a:lstStyle/>
        <a:p>
          <a:endParaRPr lang="en-US"/>
        </a:p>
      </dgm:t>
    </dgm:pt>
    <dgm:pt modelId="{1DD34EE7-7A50-4AC9-BB36-9B55B08C1E32}" type="sibTrans" cxnId="{C7436692-B09E-4621-8B53-73E73230CAC4}">
      <dgm:prSet/>
      <dgm:spPr/>
      <dgm:t>
        <a:bodyPr/>
        <a:lstStyle/>
        <a:p>
          <a:endParaRPr lang="en-US"/>
        </a:p>
      </dgm:t>
    </dgm:pt>
    <dgm:pt modelId="{B0E3CE2F-5535-4798-B029-6D20CDCC186D}">
      <dgm:prSet custT="1"/>
      <dgm:spPr/>
      <dgm:t>
        <a:bodyPr/>
        <a:lstStyle/>
        <a:p>
          <a:r>
            <a:rPr lang="en-GB" sz="2800" baseline="0"/>
            <a:t>Distinct Count</a:t>
          </a:r>
          <a:endParaRPr lang="en-US" sz="2800"/>
        </a:p>
      </dgm:t>
    </dgm:pt>
    <dgm:pt modelId="{CFECEA45-7F29-4341-BB4C-0532DC9892C7}" type="parTrans" cxnId="{F9C6F116-7107-4D1C-B6BD-FB160E2DCD64}">
      <dgm:prSet/>
      <dgm:spPr/>
      <dgm:t>
        <a:bodyPr/>
        <a:lstStyle/>
        <a:p>
          <a:endParaRPr lang="en-US"/>
        </a:p>
      </dgm:t>
    </dgm:pt>
    <dgm:pt modelId="{5289F14E-5631-40C5-A2C1-4997197C61A9}" type="sibTrans" cxnId="{F9C6F116-7107-4D1C-B6BD-FB160E2DCD64}">
      <dgm:prSet/>
      <dgm:spPr/>
      <dgm:t>
        <a:bodyPr/>
        <a:lstStyle/>
        <a:p>
          <a:endParaRPr lang="en-US"/>
        </a:p>
      </dgm:t>
    </dgm:pt>
    <dgm:pt modelId="{3BE5E268-E1D8-4201-AE89-EB74A816C8B1}">
      <dgm:prSet custT="1"/>
      <dgm:spPr/>
      <dgm:t>
        <a:bodyPr/>
        <a:lstStyle/>
        <a:p>
          <a:r>
            <a:rPr lang="en-GB" sz="1800" baseline="0"/>
            <a:t>Reduces Cardinality Estimate for large distinct counts</a:t>
          </a:r>
          <a:endParaRPr lang="en-US" sz="1800"/>
        </a:p>
      </dgm:t>
    </dgm:pt>
    <dgm:pt modelId="{A3A0976D-8E58-4611-BD89-28629F0E1A73}" type="parTrans" cxnId="{91307101-9D66-4AA3-8C91-1C9F96618B1C}">
      <dgm:prSet/>
      <dgm:spPr/>
      <dgm:t>
        <a:bodyPr/>
        <a:lstStyle/>
        <a:p>
          <a:endParaRPr lang="en-US"/>
        </a:p>
      </dgm:t>
    </dgm:pt>
    <dgm:pt modelId="{A64DB2F2-271B-4019-81DC-D1FFBCAB022C}" type="sibTrans" cxnId="{91307101-9D66-4AA3-8C91-1C9F96618B1C}">
      <dgm:prSet/>
      <dgm:spPr/>
      <dgm:t>
        <a:bodyPr/>
        <a:lstStyle/>
        <a:p>
          <a:endParaRPr lang="en-US"/>
        </a:p>
      </dgm:t>
    </dgm:pt>
    <dgm:pt modelId="{6A22EE47-6104-450F-8556-4D24072EBDEB}" type="pres">
      <dgm:prSet presAssocID="{B8FB5245-E791-4AB6-981C-710E22F89392}" presName="Name0" presStyleCnt="0">
        <dgm:presLayoutVars>
          <dgm:dir/>
          <dgm:animLvl val="lvl"/>
          <dgm:resizeHandles val="exact"/>
        </dgm:presLayoutVars>
      </dgm:prSet>
      <dgm:spPr/>
    </dgm:pt>
    <dgm:pt modelId="{A701E6E8-21E2-4A28-8B8D-0C975BD7B98D}" type="pres">
      <dgm:prSet presAssocID="{66337DD7-877E-4BBC-A826-8FF8C7F4292C}" presName="linNode" presStyleCnt="0"/>
      <dgm:spPr/>
    </dgm:pt>
    <dgm:pt modelId="{0A7E6417-C092-4FE1-AA0E-76393EB3AC4B}" type="pres">
      <dgm:prSet presAssocID="{66337DD7-877E-4BBC-A826-8FF8C7F4292C}" presName="parentText" presStyleLbl="node1" presStyleIdx="0" presStyleCnt="3">
        <dgm:presLayoutVars>
          <dgm:chMax val="1"/>
          <dgm:bulletEnabled val="1"/>
        </dgm:presLayoutVars>
      </dgm:prSet>
      <dgm:spPr/>
    </dgm:pt>
    <dgm:pt modelId="{923F4C02-1E84-46D9-87FB-1E211DEC9662}" type="pres">
      <dgm:prSet presAssocID="{66337DD7-877E-4BBC-A826-8FF8C7F4292C}" presName="descendantText" presStyleLbl="alignAccFollowNode1" presStyleIdx="0" presStyleCnt="3">
        <dgm:presLayoutVars>
          <dgm:bulletEnabled val="1"/>
        </dgm:presLayoutVars>
      </dgm:prSet>
      <dgm:spPr/>
    </dgm:pt>
    <dgm:pt modelId="{02594932-E698-4D80-B48D-3A28269F59FB}" type="pres">
      <dgm:prSet presAssocID="{C6A25CFB-E00D-4ED4-99E5-732DBD457754}" presName="sp" presStyleCnt="0"/>
      <dgm:spPr/>
    </dgm:pt>
    <dgm:pt modelId="{D66C7DBC-4337-436F-B2A4-F328A2F5F9BF}" type="pres">
      <dgm:prSet presAssocID="{ED2D938D-10BD-479C-8A9D-50195460004B}" presName="linNode" presStyleCnt="0"/>
      <dgm:spPr/>
    </dgm:pt>
    <dgm:pt modelId="{B6F22B52-8209-4CCD-9135-9344DB70F171}" type="pres">
      <dgm:prSet presAssocID="{ED2D938D-10BD-479C-8A9D-50195460004B}" presName="parentText" presStyleLbl="node1" presStyleIdx="1" presStyleCnt="3">
        <dgm:presLayoutVars>
          <dgm:chMax val="1"/>
          <dgm:bulletEnabled val="1"/>
        </dgm:presLayoutVars>
      </dgm:prSet>
      <dgm:spPr/>
    </dgm:pt>
    <dgm:pt modelId="{12E05DDD-F014-4D7C-94A1-FCCDD928838A}" type="pres">
      <dgm:prSet presAssocID="{ED2D938D-10BD-479C-8A9D-50195460004B}" presName="descendantText" presStyleLbl="alignAccFollowNode1" presStyleIdx="1" presStyleCnt="3">
        <dgm:presLayoutVars>
          <dgm:bulletEnabled val="1"/>
        </dgm:presLayoutVars>
      </dgm:prSet>
      <dgm:spPr/>
    </dgm:pt>
    <dgm:pt modelId="{DF913549-358C-4596-A510-950E859DF138}" type="pres">
      <dgm:prSet presAssocID="{AD00CE86-9D99-4399-8FE8-5778F8CE4707}" presName="sp" presStyleCnt="0"/>
      <dgm:spPr/>
    </dgm:pt>
    <dgm:pt modelId="{95DC1EA1-4F3A-4A8F-8E06-A71D52CB25DB}" type="pres">
      <dgm:prSet presAssocID="{B0E3CE2F-5535-4798-B029-6D20CDCC186D}" presName="linNode" presStyleCnt="0"/>
      <dgm:spPr/>
    </dgm:pt>
    <dgm:pt modelId="{FC68250F-127F-4CAB-BBB3-BD61636FC059}" type="pres">
      <dgm:prSet presAssocID="{B0E3CE2F-5535-4798-B029-6D20CDCC186D}" presName="parentText" presStyleLbl="node1" presStyleIdx="2" presStyleCnt="3">
        <dgm:presLayoutVars>
          <dgm:chMax val="1"/>
          <dgm:bulletEnabled val="1"/>
        </dgm:presLayoutVars>
      </dgm:prSet>
      <dgm:spPr/>
    </dgm:pt>
    <dgm:pt modelId="{B322FCE6-7D1E-4765-B3DE-B6802FEBD404}" type="pres">
      <dgm:prSet presAssocID="{B0E3CE2F-5535-4798-B029-6D20CDCC186D}" presName="descendantText" presStyleLbl="alignAccFollowNode1" presStyleIdx="2" presStyleCnt="3">
        <dgm:presLayoutVars>
          <dgm:bulletEnabled val="1"/>
        </dgm:presLayoutVars>
      </dgm:prSet>
      <dgm:spPr/>
    </dgm:pt>
  </dgm:ptLst>
  <dgm:cxnLst>
    <dgm:cxn modelId="{91307101-9D66-4AA3-8C91-1C9F96618B1C}" srcId="{B0E3CE2F-5535-4798-B029-6D20CDCC186D}" destId="{3BE5E268-E1D8-4201-AE89-EB74A816C8B1}" srcOrd="0" destOrd="0" parTransId="{A3A0976D-8E58-4611-BD89-28629F0E1A73}" sibTransId="{A64DB2F2-271B-4019-81DC-D1FFBCAB022C}"/>
    <dgm:cxn modelId="{F9C6F116-7107-4D1C-B6BD-FB160E2DCD64}" srcId="{B8FB5245-E791-4AB6-981C-710E22F89392}" destId="{B0E3CE2F-5535-4798-B029-6D20CDCC186D}" srcOrd="2" destOrd="0" parTransId="{CFECEA45-7F29-4341-BB4C-0532DC9892C7}" sibTransId="{5289F14E-5631-40C5-A2C1-4997197C61A9}"/>
    <dgm:cxn modelId="{3DAD0938-7926-4375-AA8C-65F6E5C5E28B}" type="presOf" srcId="{FB4785B9-D3FD-4DF5-83DB-BC530C62606D}" destId="{923F4C02-1E84-46D9-87FB-1E211DEC9662}" srcOrd="0" destOrd="1" presId="urn:microsoft.com/office/officeart/2005/8/layout/vList5"/>
    <dgm:cxn modelId="{6FAD395B-B0B1-4977-9934-7AA54274D82E}" srcId="{B8FB5245-E791-4AB6-981C-710E22F89392}" destId="{66337DD7-877E-4BBC-A826-8FF8C7F4292C}" srcOrd="0" destOrd="0" parTransId="{F22B8522-64AA-43F4-96F0-6042434E02A2}" sibTransId="{C6A25CFB-E00D-4ED4-99E5-732DBD457754}"/>
    <dgm:cxn modelId="{631F9E70-D97E-47AE-8223-81F10420D1B5}" type="presOf" srcId="{3BE5E268-E1D8-4201-AE89-EB74A816C8B1}" destId="{B322FCE6-7D1E-4765-B3DE-B6802FEBD404}" srcOrd="0" destOrd="0" presId="urn:microsoft.com/office/officeart/2005/8/layout/vList5"/>
    <dgm:cxn modelId="{04F8327A-72DD-44D8-99A2-B6C35FD70C2A}" type="presOf" srcId="{86CB8C18-616B-40DE-98ED-EE6503439AF1}" destId="{12E05DDD-F014-4D7C-94A1-FCCDD928838A}" srcOrd="0" destOrd="0" presId="urn:microsoft.com/office/officeart/2005/8/layout/vList5"/>
    <dgm:cxn modelId="{E68EDE86-766F-45DF-B43E-49BF38E8CC5D}" type="presOf" srcId="{66337DD7-877E-4BBC-A826-8FF8C7F4292C}" destId="{0A7E6417-C092-4FE1-AA0E-76393EB3AC4B}" srcOrd="0" destOrd="0" presId="urn:microsoft.com/office/officeart/2005/8/layout/vList5"/>
    <dgm:cxn modelId="{C7436692-B09E-4621-8B53-73E73230CAC4}" srcId="{ED2D938D-10BD-479C-8A9D-50195460004B}" destId="{86CB8C18-616B-40DE-98ED-EE6503439AF1}" srcOrd="0" destOrd="0" parTransId="{16E35AC4-FE07-41AD-8328-73A60CFA9A89}" sibTransId="{1DD34EE7-7A50-4AC9-BB36-9B55B08C1E32}"/>
    <dgm:cxn modelId="{8C349898-0707-4A5B-9CE2-091B2E3FED7A}" type="presOf" srcId="{ED2D938D-10BD-479C-8A9D-50195460004B}" destId="{B6F22B52-8209-4CCD-9135-9344DB70F171}" srcOrd="0" destOrd="0" presId="urn:microsoft.com/office/officeart/2005/8/layout/vList5"/>
    <dgm:cxn modelId="{909761AA-5716-4298-A8C9-26BB21B43B78}" type="presOf" srcId="{78CD6D19-D539-4257-BB57-A9AED6B97CFC}" destId="{923F4C02-1E84-46D9-87FB-1E211DEC9662}" srcOrd="0" destOrd="0" presId="urn:microsoft.com/office/officeart/2005/8/layout/vList5"/>
    <dgm:cxn modelId="{E25BE5AE-D3D0-40C7-837A-C38C91223A61}" srcId="{66337DD7-877E-4BBC-A826-8FF8C7F4292C}" destId="{78CD6D19-D539-4257-BB57-A9AED6B97CFC}" srcOrd="0" destOrd="0" parTransId="{08994EBB-1E1C-436E-9EDB-9F03A09E13B2}" sibTransId="{494FC9D5-6AF6-462A-9260-E905EAE2B338}"/>
    <dgm:cxn modelId="{4A6AEEBA-6E90-4E75-BB96-C5D4583247EF}" srcId="{B8FB5245-E791-4AB6-981C-710E22F89392}" destId="{ED2D938D-10BD-479C-8A9D-50195460004B}" srcOrd="1" destOrd="0" parTransId="{6F4C691C-FB95-4943-A787-C0F2D8D34BBA}" sibTransId="{AD00CE86-9D99-4399-8FE8-5778F8CE4707}"/>
    <dgm:cxn modelId="{A9F30CD2-6730-4C6A-A8EA-8C28EF762BEA}" srcId="{66337DD7-877E-4BBC-A826-8FF8C7F4292C}" destId="{FB4785B9-D3FD-4DF5-83DB-BC530C62606D}" srcOrd="1" destOrd="0" parTransId="{36C7502A-E344-4ADE-845D-78F65AECE9B7}" sibTransId="{E6DEE7D3-3373-43C2-839D-2C0B15D0D306}"/>
    <dgm:cxn modelId="{973F9AD2-F518-47B8-9E71-BD1B30B8A210}" type="presOf" srcId="{B0E3CE2F-5535-4798-B029-6D20CDCC186D}" destId="{FC68250F-127F-4CAB-BBB3-BD61636FC059}" srcOrd="0" destOrd="0" presId="urn:microsoft.com/office/officeart/2005/8/layout/vList5"/>
    <dgm:cxn modelId="{036AA8F4-33B5-4AA9-AA56-63300011F839}" type="presOf" srcId="{B8FB5245-E791-4AB6-981C-710E22F89392}" destId="{6A22EE47-6104-450F-8556-4D24072EBDEB}" srcOrd="0" destOrd="0" presId="urn:microsoft.com/office/officeart/2005/8/layout/vList5"/>
    <dgm:cxn modelId="{AAA3FF1B-63E4-422A-9E70-1DF331DB9835}" type="presParOf" srcId="{6A22EE47-6104-450F-8556-4D24072EBDEB}" destId="{A701E6E8-21E2-4A28-8B8D-0C975BD7B98D}" srcOrd="0" destOrd="0" presId="urn:microsoft.com/office/officeart/2005/8/layout/vList5"/>
    <dgm:cxn modelId="{5D114DBB-4716-443D-8120-1F7352BF829B}" type="presParOf" srcId="{A701E6E8-21E2-4A28-8B8D-0C975BD7B98D}" destId="{0A7E6417-C092-4FE1-AA0E-76393EB3AC4B}" srcOrd="0" destOrd="0" presId="urn:microsoft.com/office/officeart/2005/8/layout/vList5"/>
    <dgm:cxn modelId="{0EA9C08E-1C3A-44E6-B52B-FF9D89011FF2}" type="presParOf" srcId="{A701E6E8-21E2-4A28-8B8D-0C975BD7B98D}" destId="{923F4C02-1E84-46D9-87FB-1E211DEC9662}" srcOrd="1" destOrd="0" presId="urn:microsoft.com/office/officeart/2005/8/layout/vList5"/>
    <dgm:cxn modelId="{45802C36-0250-41AB-A6BB-F65BD38BB812}" type="presParOf" srcId="{6A22EE47-6104-450F-8556-4D24072EBDEB}" destId="{02594932-E698-4D80-B48D-3A28269F59FB}" srcOrd="1" destOrd="0" presId="urn:microsoft.com/office/officeart/2005/8/layout/vList5"/>
    <dgm:cxn modelId="{E3C967AF-D84F-41DD-80D5-9F571D7D4555}" type="presParOf" srcId="{6A22EE47-6104-450F-8556-4D24072EBDEB}" destId="{D66C7DBC-4337-436F-B2A4-F328A2F5F9BF}" srcOrd="2" destOrd="0" presId="urn:microsoft.com/office/officeart/2005/8/layout/vList5"/>
    <dgm:cxn modelId="{66FD2791-8BDA-42E3-B9E7-A44EBB1A2C44}" type="presParOf" srcId="{D66C7DBC-4337-436F-B2A4-F328A2F5F9BF}" destId="{B6F22B52-8209-4CCD-9135-9344DB70F171}" srcOrd="0" destOrd="0" presId="urn:microsoft.com/office/officeart/2005/8/layout/vList5"/>
    <dgm:cxn modelId="{8478C099-4716-40F2-8DAD-D8767DCE5636}" type="presParOf" srcId="{D66C7DBC-4337-436F-B2A4-F328A2F5F9BF}" destId="{12E05DDD-F014-4D7C-94A1-FCCDD928838A}" srcOrd="1" destOrd="0" presId="urn:microsoft.com/office/officeart/2005/8/layout/vList5"/>
    <dgm:cxn modelId="{65C11454-51C8-4ACA-BBFF-B53ECB92A10C}" type="presParOf" srcId="{6A22EE47-6104-450F-8556-4D24072EBDEB}" destId="{DF913549-358C-4596-A510-950E859DF138}" srcOrd="3" destOrd="0" presId="urn:microsoft.com/office/officeart/2005/8/layout/vList5"/>
    <dgm:cxn modelId="{665CBB09-8828-413A-8337-898C0BEC2D6D}" type="presParOf" srcId="{6A22EE47-6104-450F-8556-4D24072EBDEB}" destId="{95DC1EA1-4F3A-4A8F-8E06-A71D52CB25DB}" srcOrd="4" destOrd="0" presId="urn:microsoft.com/office/officeart/2005/8/layout/vList5"/>
    <dgm:cxn modelId="{A49ED709-0399-4FF7-A356-8FD11082EBB2}" type="presParOf" srcId="{95DC1EA1-4F3A-4A8F-8E06-A71D52CB25DB}" destId="{FC68250F-127F-4CAB-BBB3-BD61636FC059}" srcOrd="0" destOrd="0" presId="urn:microsoft.com/office/officeart/2005/8/layout/vList5"/>
    <dgm:cxn modelId="{F3E5877B-1A59-4574-AC63-BE13CA67B530}" type="presParOf" srcId="{95DC1EA1-4F3A-4A8F-8E06-A71D52CB25DB}" destId="{B322FCE6-7D1E-4765-B3DE-B6802FEBD40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8FB5245-E791-4AB6-981C-710E22F8939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6337DD7-877E-4BBC-A826-8FF8C7F4292C}">
      <dgm:prSet custT="1"/>
      <dgm:spPr/>
      <dgm:t>
        <a:bodyPr/>
        <a:lstStyle/>
        <a:p>
          <a:r>
            <a:rPr lang="en-GB" sz="2800" baseline="0"/>
            <a:t>Composite Filters </a:t>
          </a:r>
          <a:endParaRPr lang="en-US" sz="2800"/>
        </a:p>
      </dgm:t>
    </dgm:pt>
    <dgm:pt modelId="{F22B8522-64AA-43F4-96F0-6042434E02A2}" type="parTrans" cxnId="{6FAD395B-B0B1-4977-9934-7AA54274D82E}">
      <dgm:prSet/>
      <dgm:spPr/>
      <dgm:t>
        <a:bodyPr/>
        <a:lstStyle/>
        <a:p>
          <a:endParaRPr lang="en-US"/>
        </a:p>
      </dgm:t>
    </dgm:pt>
    <dgm:pt modelId="{C6A25CFB-E00D-4ED4-99E5-732DBD457754}" type="sibTrans" cxnId="{6FAD395B-B0B1-4977-9934-7AA54274D82E}">
      <dgm:prSet/>
      <dgm:spPr/>
      <dgm:t>
        <a:bodyPr/>
        <a:lstStyle/>
        <a:p>
          <a:endParaRPr lang="en-US"/>
        </a:p>
      </dgm:t>
    </dgm:pt>
    <dgm:pt modelId="{6A22EE47-6104-450F-8556-4D24072EBDEB}" type="pres">
      <dgm:prSet presAssocID="{B8FB5245-E791-4AB6-981C-710E22F89392}" presName="Name0" presStyleCnt="0">
        <dgm:presLayoutVars>
          <dgm:dir/>
          <dgm:animLvl val="lvl"/>
          <dgm:resizeHandles val="exact"/>
        </dgm:presLayoutVars>
      </dgm:prSet>
      <dgm:spPr/>
    </dgm:pt>
    <dgm:pt modelId="{A701E6E8-21E2-4A28-8B8D-0C975BD7B98D}" type="pres">
      <dgm:prSet presAssocID="{66337DD7-877E-4BBC-A826-8FF8C7F4292C}" presName="linNode" presStyleCnt="0"/>
      <dgm:spPr/>
    </dgm:pt>
    <dgm:pt modelId="{0A7E6417-C092-4FE1-AA0E-76393EB3AC4B}" type="pres">
      <dgm:prSet presAssocID="{66337DD7-877E-4BBC-A826-8FF8C7F4292C}" presName="parentText" presStyleLbl="node1" presStyleIdx="0" presStyleCnt="1" custScaleX="128550" custScaleY="99333" custLinFactNeighborX="-90972" custLinFactNeighborY="171">
        <dgm:presLayoutVars>
          <dgm:chMax val="1"/>
          <dgm:bulletEnabled val="1"/>
        </dgm:presLayoutVars>
      </dgm:prSet>
      <dgm:spPr/>
    </dgm:pt>
  </dgm:ptLst>
  <dgm:cxnLst>
    <dgm:cxn modelId="{6FAD395B-B0B1-4977-9934-7AA54274D82E}" srcId="{B8FB5245-E791-4AB6-981C-710E22F89392}" destId="{66337DD7-877E-4BBC-A826-8FF8C7F4292C}" srcOrd="0" destOrd="0" parTransId="{F22B8522-64AA-43F4-96F0-6042434E02A2}" sibTransId="{C6A25CFB-E00D-4ED4-99E5-732DBD457754}"/>
    <dgm:cxn modelId="{E68EDE86-766F-45DF-B43E-49BF38E8CC5D}" type="presOf" srcId="{66337DD7-877E-4BBC-A826-8FF8C7F4292C}" destId="{0A7E6417-C092-4FE1-AA0E-76393EB3AC4B}" srcOrd="0" destOrd="0" presId="urn:microsoft.com/office/officeart/2005/8/layout/vList5"/>
    <dgm:cxn modelId="{036AA8F4-33B5-4AA9-AA56-63300011F839}" type="presOf" srcId="{B8FB5245-E791-4AB6-981C-710E22F89392}" destId="{6A22EE47-6104-450F-8556-4D24072EBDEB}" srcOrd="0" destOrd="0" presId="urn:microsoft.com/office/officeart/2005/8/layout/vList5"/>
    <dgm:cxn modelId="{AAA3FF1B-63E4-422A-9E70-1DF331DB9835}" type="presParOf" srcId="{6A22EE47-6104-450F-8556-4D24072EBDEB}" destId="{A701E6E8-21E2-4A28-8B8D-0C975BD7B98D}" srcOrd="0" destOrd="0" presId="urn:microsoft.com/office/officeart/2005/8/layout/vList5"/>
    <dgm:cxn modelId="{5D114DBB-4716-443D-8120-1F7352BF829B}" type="presParOf" srcId="{A701E6E8-21E2-4A28-8B8D-0C975BD7B98D}" destId="{0A7E6417-C092-4FE1-AA0E-76393EB3AC4B}"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A300F09-EED9-474C-92E9-7A1F74DF986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8FF84DC6-27F7-4136-B571-A9B42901EC7C}">
      <dgm:prSet/>
      <dgm:spPr/>
      <dgm:t>
        <a:bodyPr/>
        <a:lstStyle/>
        <a:p>
          <a:r>
            <a:rPr lang="en-GB" baseline="0"/>
            <a:t>Each Histogram is limited to 200 steps</a:t>
          </a:r>
          <a:endParaRPr lang="en-US"/>
        </a:p>
      </dgm:t>
    </dgm:pt>
    <dgm:pt modelId="{1E6D5833-ED31-43B9-A12A-2146DFD91ACF}" type="parTrans" cxnId="{027BEB75-A025-4C91-B7CD-E4553BF81928}">
      <dgm:prSet/>
      <dgm:spPr/>
      <dgm:t>
        <a:bodyPr/>
        <a:lstStyle/>
        <a:p>
          <a:endParaRPr lang="en-US"/>
        </a:p>
      </dgm:t>
    </dgm:pt>
    <dgm:pt modelId="{B49A8BA4-D6CE-4355-AA8B-9CDAF6A0BB57}" type="sibTrans" cxnId="{027BEB75-A025-4C91-B7CD-E4553BF81928}">
      <dgm:prSet/>
      <dgm:spPr/>
      <dgm:t>
        <a:bodyPr/>
        <a:lstStyle/>
        <a:p>
          <a:endParaRPr lang="en-US"/>
        </a:p>
      </dgm:t>
    </dgm:pt>
    <dgm:pt modelId="{2E180D92-54E1-40F2-9C4B-51E43803CBD2}">
      <dgm:prSet/>
      <dgm:spPr/>
      <dgm:t>
        <a:bodyPr/>
        <a:lstStyle/>
        <a:p>
          <a:r>
            <a:rPr lang="en-GB" baseline="0"/>
            <a:t>Create &gt; 1 stat object per column using filters</a:t>
          </a:r>
          <a:endParaRPr lang="en-US"/>
        </a:p>
      </dgm:t>
    </dgm:pt>
    <dgm:pt modelId="{22441492-5EE5-4095-AED3-71BBC8DE0C00}" type="parTrans" cxnId="{E5FBF613-959F-4353-94DC-FB58568136D6}">
      <dgm:prSet/>
      <dgm:spPr/>
      <dgm:t>
        <a:bodyPr/>
        <a:lstStyle/>
        <a:p>
          <a:endParaRPr lang="en-US"/>
        </a:p>
      </dgm:t>
    </dgm:pt>
    <dgm:pt modelId="{B30B556D-326C-480C-AE5C-775BA1B4AB8F}" type="sibTrans" cxnId="{E5FBF613-959F-4353-94DC-FB58568136D6}">
      <dgm:prSet/>
      <dgm:spPr/>
      <dgm:t>
        <a:bodyPr/>
        <a:lstStyle/>
        <a:p>
          <a:endParaRPr lang="en-US"/>
        </a:p>
      </dgm:t>
    </dgm:pt>
    <dgm:pt modelId="{E5DAFCF6-4082-4F07-8B99-BF8BB22D8598}">
      <dgm:prSet/>
      <dgm:spPr/>
      <dgm:t>
        <a:bodyPr/>
        <a:lstStyle/>
        <a:p>
          <a:r>
            <a:rPr lang="en-GB" baseline="0"/>
            <a:t>Consider aligning stats boundary </a:t>
          </a:r>
          <a:endParaRPr lang="en-US"/>
        </a:p>
      </dgm:t>
    </dgm:pt>
    <dgm:pt modelId="{52CC5F77-87CD-4D4F-A412-0F91BAC2BA9D}" type="parTrans" cxnId="{D6D20860-6A35-406C-8BD6-FC9122201369}">
      <dgm:prSet/>
      <dgm:spPr/>
      <dgm:t>
        <a:bodyPr/>
        <a:lstStyle/>
        <a:p>
          <a:endParaRPr lang="en-US"/>
        </a:p>
      </dgm:t>
    </dgm:pt>
    <dgm:pt modelId="{7B31E896-B772-476C-BB26-E06796E65277}" type="sibTrans" cxnId="{D6D20860-6A35-406C-8BD6-FC9122201369}">
      <dgm:prSet/>
      <dgm:spPr/>
      <dgm:t>
        <a:bodyPr/>
        <a:lstStyle/>
        <a:p>
          <a:endParaRPr lang="en-US"/>
        </a:p>
      </dgm:t>
    </dgm:pt>
    <dgm:pt modelId="{D09D265A-F894-45AC-9742-DD555639A8DD}">
      <dgm:prSet custT="1"/>
      <dgm:spPr/>
      <dgm:t>
        <a:bodyPr/>
        <a:lstStyle/>
        <a:p>
          <a:r>
            <a:rPr lang="en-GB" sz="2800" baseline="0"/>
            <a:t>by partition </a:t>
          </a:r>
          <a:endParaRPr lang="en-US" sz="2800"/>
        </a:p>
      </dgm:t>
    </dgm:pt>
    <dgm:pt modelId="{B01A1EB2-76CF-42D3-8907-8FDA0D6E6F5C}" type="parTrans" cxnId="{2DCBFF04-0342-4AF9-B0CC-C46B1D866B63}">
      <dgm:prSet/>
      <dgm:spPr/>
      <dgm:t>
        <a:bodyPr/>
        <a:lstStyle/>
        <a:p>
          <a:endParaRPr lang="en-US"/>
        </a:p>
      </dgm:t>
    </dgm:pt>
    <dgm:pt modelId="{2EAF94C5-76DA-483D-B0B8-9D679E244939}" type="sibTrans" cxnId="{2DCBFF04-0342-4AF9-B0CC-C46B1D866B63}">
      <dgm:prSet/>
      <dgm:spPr/>
      <dgm:t>
        <a:bodyPr/>
        <a:lstStyle/>
        <a:p>
          <a:endParaRPr lang="en-US"/>
        </a:p>
      </dgm:t>
    </dgm:pt>
    <dgm:pt modelId="{C12985A3-5665-4B2B-981D-122995C58F84}">
      <dgm:prSet custT="1"/>
      <dgm:spPr/>
      <dgm:t>
        <a:bodyPr/>
        <a:lstStyle/>
        <a:p>
          <a:r>
            <a:rPr lang="en-GB" sz="2800" baseline="0"/>
            <a:t>query range</a:t>
          </a:r>
          <a:endParaRPr lang="en-US" sz="2800"/>
        </a:p>
      </dgm:t>
    </dgm:pt>
    <dgm:pt modelId="{E8946DC2-CB4D-44B2-BBD7-1EA6B285B68E}" type="parTrans" cxnId="{3CE038B8-1BC4-47F9-9864-BC505A5F2BA3}">
      <dgm:prSet/>
      <dgm:spPr/>
      <dgm:t>
        <a:bodyPr/>
        <a:lstStyle/>
        <a:p>
          <a:endParaRPr lang="en-US"/>
        </a:p>
      </dgm:t>
    </dgm:pt>
    <dgm:pt modelId="{B8498901-378E-4223-91E6-1132F5152847}" type="sibTrans" cxnId="{3CE038B8-1BC4-47F9-9864-BC505A5F2BA3}">
      <dgm:prSet/>
      <dgm:spPr/>
      <dgm:t>
        <a:bodyPr/>
        <a:lstStyle/>
        <a:p>
          <a:endParaRPr lang="en-US"/>
        </a:p>
      </dgm:t>
    </dgm:pt>
    <dgm:pt modelId="{718EC1DA-0434-4389-9181-0E7061C55ABF}" type="pres">
      <dgm:prSet presAssocID="{4A300F09-EED9-474C-92E9-7A1F74DF986C}" presName="linear" presStyleCnt="0">
        <dgm:presLayoutVars>
          <dgm:dir/>
          <dgm:animLvl val="lvl"/>
          <dgm:resizeHandles val="exact"/>
        </dgm:presLayoutVars>
      </dgm:prSet>
      <dgm:spPr/>
    </dgm:pt>
    <dgm:pt modelId="{339A9CCB-366A-488C-82C7-9D5D864726FF}" type="pres">
      <dgm:prSet presAssocID="{8FF84DC6-27F7-4136-B571-A9B42901EC7C}" presName="parentLin" presStyleCnt="0"/>
      <dgm:spPr/>
    </dgm:pt>
    <dgm:pt modelId="{D9457DB7-C2E4-4EE6-A7DF-A008E0690A66}" type="pres">
      <dgm:prSet presAssocID="{8FF84DC6-27F7-4136-B571-A9B42901EC7C}" presName="parentLeftMargin" presStyleLbl="node1" presStyleIdx="0" presStyleCnt="3"/>
      <dgm:spPr/>
    </dgm:pt>
    <dgm:pt modelId="{3C1735EF-5A29-4561-87A6-A390DD33D4AB}" type="pres">
      <dgm:prSet presAssocID="{8FF84DC6-27F7-4136-B571-A9B42901EC7C}" presName="parentText" presStyleLbl="node1" presStyleIdx="0" presStyleCnt="3">
        <dgm:presLayoutVars>
          <dgm:chMax val="0"/>
          <dgm:bulletEnabled val="1"/>
        </dgm:presLayoutVars>
      </dgm:prSet>
      <dgm:spPr/>
    </dgm:pt>
    <dgm:pt modelId="{945C3988-BC1C-4A5E-AB30-D021BC434CB0}" type="pres">
      <dgm:prSet presAssocID="{8FF84DC6-27F7-4136-B571-A9B42901EC7C}" presName="negativeSpace" presStyleCnt="0"/>
      <dgm:spPr/>
    </dgm:pt>
    <dgm:pt modelId="{07591E8F-D456-42B6-9634-5FA68956A8F5}" type="pres">
      <dgm:prSet presAssocID="{8FF84DC6-27F7-4136-B571-A9B42901EC7C}" presName="childText" presStyleLbl="conFgAcc1" presStyleIdx="0" presStyleCnt="3">
        <dgm:presLayoutVars>
          <dgm:bulletEnabled val="1"/>
        </dgm:presLayoutVars>
      </dgm:prSet>
      <dgm:spPr/>
    </dgm:pt>
    <dgm:pt modelId="{00ED13BB-3482-40EF-BEEE-89504F6A5CD4}" type="pres">
      <dgm:prSet presAssocID="{B49A8BA4-D6CE-4355-AA8B-9CDAF6A0BB57}" presName="spaceBetweenRectangles" presStyleCnt="0"/>
      <dgm:spPr/>
    </dgm:pt>
    <dgm:pt modelId="{E89E8561-0295-4344-920F-AA76D5D7DECF}" type="pres">
      <dgm:prSet presAssocID="{2E180D92-54E1-40F2-9C4B-51E43803CBD2}" presName="parentLin" presStyleCnt="0"/>
      <dgm:spPr/>
    </dgm:pt>
    <dgm:pt modelId="{572C7CE3-88C4-4413-9DEC-998146C363F2}" type="pres">
      <dgm:prSet presAssocID="{2E180D92-54E1-40F2-9C4B-51E43803CBD2}" presName="parentLeftMargin" presStyleLbl="node1" presStyleIdx="0" presStyleCnt="3"/>
      <dgm:spPr/>
    </dgm:pt>
    <dgm:pt modelId="{6582BBD8-E11B-4137-95FF-36F7F54B4938}" type="pres">
      <dgm:prSet presAssocID="{2E180D92-54E1-40F2-9C4B-51E43803CBD2}" presName="parentText" presStyleLbl="node1" presStyleIdx="1" presStyleCnt="3">
        <dgm:presLayoutVars>
          <dgm:chMax val="0"/>
          <dgm:bulletEnabled val="1"/>
        </dgm:presLayoutVars>
      </dgm:prSet>
      <dgm:spPr/>
    </dgm:pt>
    <dgm:pt modelId="{C15B7299-E474-471B-A6B7-E7C0C3CDB71A}" type="pres">
      <dgm:prSet presAssocID="{2E180D92-54E1-40F2-9C4B-51E43803CBD2}" presName="negativeSpace" presStyleCnt="0"/>
      <dgm:spPr/>
    </dgm:pt>
    <dgm:pt modelId="{DDD47B65-298F-49FA-AAC6-7DC885D78539}" type="pres">
      <dgm:prSet presAssocID="{2E180D92-54E1-40F2-9C4B-51E43803CBD2}" presName="childText" presStyleLbl="conFgAcc1" presStyleIdx="1" presStyleCnt="3">
        <dgm:presLayoutVars>
          <dgm:bulletEnabled val="1"/>
        </dgm:presLayoutVars>
      </dgm:prSet>
      <dgm:spPr/>
    </dgm:pt>
    <dgm:pt modelId="{C6D23551-0EEE-47F6-8679-3B6DF0A7A1DC}" type="pres">
      <dgm:prSet presAssocID="{B30B556D-326C-480C-AE5C-775BA1B4AB8F}" presName="spaceBetweenRectangles" presStyleCnt="0"/>
      <dgm:spPr/>
    </dgm:pt>
    <dgm:pt modelId="{9AC3DF1B-CB73-452F-9740-F87383FF9403}" type="pres">
      <dgm:prSet presAssocID="{E5DAFCF6-4082-4F07-8B99-BF8BB22D8598}" presName="parentLin" presStyleCnt="0"/>
      <dgm:spPr/>
    </dgm:pt>
    <dgm:pt modelId="{3FA4F964-6FA6-4E9E-B582-DEFD2CF69B6D}" type="pres">
      <dgm:prSet presAssocID="{E5DAFCF6-4082-4F07-8B99-BF8BB22D8598}" presName="parentLeftMargin" presStyleLbl="node1" presStyleIdx="1" presStyleCnt="3"/>
      <dgm:spPr/>
    </dgm:pt>
    <dgm:pt modelId="{9FB3BA90-1E32-4593-BFF8-7C9D4FBA1EEB}" type="pres">
      <dgm:prSet presAssocID="{E5DAFCF6-4082-4F07-8B99-BF8BB22D8598}" presName="parentText" presStyleLbl="node1" presStyleIdx="2" presStyleCnt="3">
        <dgm:presLayoutVars>
          <dgm:chMax val="0"/>
          <dgm:bulletEnabled val="1"/>
        </dgm:presLayoutVars>
      </dgm:prSet>
      <dgm:spPr/>
    </dgm:pt>
    <dgm:pt modelId="{AF8157FD-A0B2-47FA-9A5E-A4FEB9BE9534}" type="pres">
      <dgm:prSet presAssocID="{E5DAFCF6-4082-4F07-8B99-BF8BB22D8598}" presName="negativeSpace" presStyleCnt="0"/>
      <dgm:spPr/>
    </dgm:pt>
    <dgm:pt modelId="{53D9E7F1-0F5A-4AC7-9CF1-CEE8CA9CAB01}" type="pres">
      <dgm:prSet presAssocID="{E5DAFCF6-4082-4F07-8B99-BF8BB22D8598}" presName="childText" presStyleLbl="conFgAcc1" presStyleIdx="2" presStyleCnt="3">
        <dgm:presLayoutVars>
          <dgm:bulletEnabled val="1"/>
        </dgm:presLayoutVars>
      </dgm:prSet>
      <dgm:spPr/>
    </dgm:pt>
  </dgm:ptLst>
  <dgm:cxnLst>
    <dgm:cxn modelId="{44CB8902-DFA9-4D96-9C17-94FFD439C8EA}" type="presOf" srcId="{E5DAFCF6-4082-4F07-8B99-BF8BB22D8598}" destId="{9FB3BA90-1E32-4593-BFF8-7C9D4FBA1EEB}" srcOrd="1" destOrd="0" presId="urn:microsoft.com/office/officeart/2005/8/layout/list1"/>
    <dgm:cxn modelId="{2DCBFF04-0342-4AF9-B0CC-C46B1D866B63}" srcId="{E5DAFCF6-4082-4F07-8B99-BF8BB22D8598}" destId="{D09D265A-F894-45AC-9742-DD555639A8DD}" srcOrd="0" destOrd="0" parTransId="{B01A1EB2-76CF-42D3-8907-8FDA0D6E6F5C}" sibTransId="{2EAF94C5-76DA-483D-B0B8-9D679E244939}"/>
    <dgm:cxn modelId="{E5FBF613-959F-4353-94DC-FB58568136D6}" srcId="{4A300F09-EED9-474C-92E9-7A1F74DF986C}" destId="{2E180D92-54E1-40F2-9C4B-51E43803CBD2}" srcOrd="1" destOrd="0" parTransId="{22441492-5EE5-4095-AED3-71BBC8DE0C00}" sibTransId="{B30B556D-326C-480C-AE5C-775BA1B4AB8F}"/>
    <dgm:cxn modelId="{28FFEF1B-995B-484E-8043-B464AE27FE87}" type="presOf" srcId="{4A300F09-EED9-474C-92E9-7A1F74DF986C}" destId="{718EC1DA-0434-4389-9181-0E7061C55ABF}" srcOrd="0" destOrd="0" presId="urn:microsoft.com/office/officeart/2005/8/layout/list1"/>
    <dgm:cxn modelId="{600E3820-42F1-4D40-9A4F-167CFFE3BEE3}" type="presOf" srcId="{8FF84DC6-27F7-4136-B571-A9B42901EC7C}" destId="{D9457DB7-C2E4-4EE6-A7DF-A008E0690A66}" srcOrd="0" destOrd="0" presId="urn:microsoft.com/office/officeart/2005/8/layout/list1"/>
    <dgm:cxn modelId="{D6D20860-6A35-406C-8BD6-FC9122201369}" srcId="{4A300F09-EED9-474C-92E9-7A1F74DF986C}" destId="{E5DAFCF6-4082-4F07-8B99-BF8BB22D8598}" srcOrd="2" destOrd="0" parTransId="{52CC5F77-87CD-4D4F-A412-0F91BAC2BA9D}" sibTransId="{7B31E896-B772-476C-BB26-E06796E65277}"/>
    <dgm:cxn modelId="{3829A96B-C947-4F06-BAF1-A710E986D20A}" type="presOf" srcId="{D09D265A-F894-45AC-9742-DD555639A8DD}" destId="{53D9E7F1-0F5A-4AC7-9CF1-CEE8CA9CAB01}" srcOrd="0" destOrd="0" presId="urn:microsoft.com/office/officeart/2005/8/layout/list1"/>
    <dgm:cxn modelId="{F4BADF6B-0FE0-407E-95FF-92E3BC24EB52}" type="presOf" srcId="{8FF84DC6-27F7-4136-B571-A9B42901EC7C}" destId="{3C1735EF-5A29-4561-87A6-A390DD33D4AB}" srcOrd="1" destOrd="0" presId="urn:microsoft.com/office/officeart/2005/8/layout/list1"/>
    <dgm:cxn modelId="{027BEB75-A025-4C91-B7CD-E4553BF81928}" srcId="{4A300F09-EED9-474C-92E9-7A1F74DF986C}" destId="{8FF84DC6-27F7-4136-B571-A9B42901EC7C}" srcOrd="0" destOrd="0" parTransId="{1E6D5833-ED31-43B9-A12A-2146DFD91ACF}" sibTransId="{B49A8BA4-D6CE-4355-AA8B-9CDAF6A0BB57}"/>
    <dgm:cxn modelId="{74E34793-39AB-4F4B-BEE1-DA4FADF34970}" type="presOf" srcId="{E5DAFCF6-4082-4F07-8B99-BF8BB22D8598}" destId="{3FA4F964-6FA6-4E9E-B582-DEFD2CF69B6D}" srcOrd="0" destOrd="0" presId="urn:microsoft.com/office/officeart/2005/8/layout/list1"/>
    <dgm:cxn modelId="{409C1DA3-4F62-4A74-8608-643CF2F9FC64}" type="presOf" srcId="{2E180D92-54E1-40F2-9C4B-51E43803CBD2}" destId="{572C7CE3-88C4-4413-9DEC-998146C363F2}" srcOrd="0" destOrd="0" presId="urn:microsoft.com/office/officeart/2005/8/layout/list1"/>
    <dgm:cxn modelId="{3CE038B8-1BC4-47F9-9864-BC505A5F2BA3}" srcId="{E5DAFCF6-4082-4F07-8B99-BF8BB22D8598}" destId="{C12985A3-5665-4B2B-981D-122995C58F84}" srcOrd="1" destOrd="0" parTransId="{E8946DC2-CB4D-44B2-BBD7-1EA6B285B68E}" sibTransId="{B8498901-378E-4223-91E6-1132F5152847}"/>
    <dgm:cxn modelId="{DE9E19EF-E899-4AA4-ACF3-5AE61CB078C7}" type="presOf" srcId="{2E180D92-54E1-40F2-9C4B-51E43803CBD2}" destId="{6582BBD8-E11B-4137-95FF-36F7F54B4938}" srcOrd="1" destOrd="0" presId="urn:microsoft.com/office/officeart/2005/8/layout/list1"/>
    <dgm:cxn modelId="{2E9D54F3-7C0C-4BF1-A016-DD292E409A3D}" type="presOf" srcId="{C12985A3-5665-4B2B-981D-122995C58F84}" destId="{53D9E7F1-0F5A-4AC7-9CF1-CEE8CA9CAB01}" srcOrd="0" destOrd="1" presId="urn:microsoft.com/office/officeart/2005/8/layout/list1"/>
    <dgm:cxn modelId="{4956227B-2466-496C-98A5-8B498CBB050F}" type="presParOf" srcId="{718EC1DA-0434-4389-9181-0E7061C55ABF}" destId="{339A9CCB-366A-488C-82C7-9D5D864726FF}" srcOrd="0" destOrd="0" presId="urn:microsoft.com/office/officeart/2005/8/layout/list1"/>
    <dgm:cxn modelId="{30EDA58D-4727-4956-AA9E-C631D422B87E}" type="presParOf" srcId="{339A9CCB-366A-488C-82C7-9D5D864726FF}" destId="{D9457DB7-C2E4-4EE6-A7DF-A008E0690A66}" srcOrd="0" destOrd="0" presId="urn:microsoft.com/office/officeart/2005/8/layout/list1"/>
    <dgm:cxn modelId="{136863AC-88ED-4B76-81ED-3AD8799F2133}" type="presParOf" srcId="{339A9CCB-366A-488C-82C7-9D5D864726FF}" destId="{3C1735EF-5A29-4561-87A6-A390DD33D4AB}" srcOrd="1" destOrd="0" presId="urn:microsoft.com/office/officeart/2005/8/layout/list1"/>
    <dgm:cxn modelId="{40A4FCAE-833D-40D3-8ECF-2C5FADC4CD9B}" type="presParOf" srcId="{718EC1DA-0434-4389-9181-0E7061C55ABF}" destId="{945C3988-BC1C-4A5E-AB30-D021BC434CB0}" srcOrd="1" destOrd="0" presId="urn:microsoft.com/office/officeart/2005/8/layout/list1"/>
    <dgm:cxn modelId="{59DD1290-F38B-4A8D-974E-5E26316FEBBF}" type="presParOf" srcId="{718EC1DA-0434-4389-9181-0E7061C55ABF}" destId="{07591E8F-D456-42B6-9634-5FA68956A8F5}" srcOrd="2" destOrd="0" presId="urn:microsoft.com/office/officeart/2005/8/layout/list1"/>
    <dgm:cxn modelId="{3EEDFD70-DECF-4E95-91EF-65D6354E0C59}" type="presParOf" srcId="{718EC1DA-0434-4389-9181-0E7061C55ABF}" destId="{00ED13BB-3482-40EF-BEEE-89504F6A5CD4}" srcOrd="3" destOrd="0" presId="urn:microsoft.com/office/officeart/2005/8/layout/list1"/>
    <dgm:cxn modelId="{0BA65062-8747-4318-8A93-C555E53EA72A}" type="presParOf" srcId="{718EC1DA-0434-4389-9181-0E7061C55ABF}" destId="{E89E8561-0295-4344-920F-AA76D5D7DECF}" srcOrd="4" destOrd="0" presId="urn:microsoft.com/office/officeart/2005/8/layout/list1"/>
    <dgm:cxn modelId="{E48044BE-B535-40E4-BF1F-DF382CE5808D}" type="presParOf" srcId="{E89E8561-0295-4344-920F-AA76D5D7DECF}" destId="{572C7CE3-88C4-4413-9DEC-998146C363F2}" srcOrd="0" destOrd="0" presId="urn:microsoft.com/office/officeart/2005/8/layout/list1"/>
    <dgm:cxn modelId="{99E6F025-E7D5-41F9-B393-B43B741D43E2}" type="presParOf" srcId="{E89E8561-0295-4344-920F-AA76D5D7DECF}" destId="{6582BBD8-E11B-4137-95FF-36F7F54B4938}" srcOrd="1" destOrd="0" presId="urn:microsoft.com/office/officeart/2005/8/layout/list1"/>
    <dgm:cxn modelId="{3CE05E3E-9E4F-4A46-A4FC-C2530A1F05BF}" type="presParOf" srcId="{718EC1DA-0434-4389-9181-0E7061C55ABF}" destId="{C15B7299-E474-471B-A6B7-E7C0C3CDB71A}" srcOrd="5" destOrd="0" presId="urn:microsoft.com/office/officeart/2005/8/layout/list1"/>
    <dgm:cxn modelId="{D0B396A4-3450-4527-B59A-55ED9C849EAE}" type="presParOf" srcId="{718EC1DA-0434-4389-9181-0E7061C55ABF}" destId="{DDD47B65-298F-49FA-AAC6-7DC885D78539}" srcOrd="6" destOrd="0" presId="urn:microsoft.com/office/officeart/2005/8/layout/list1"/>
    <dgm:cxn modelId="{A314AD81-8658-4CF9-96E6-E402B19D57F8}" type="presParOf" srcId="{718EC1DA-0434-4389-9181-0E7061C55ABF}" destId="{C6D23551-0EEE-47F6-8679-3B6DF0A7A1DC}" srcOrd="7" destOrd="0" presId="urn:microsoft.com/office/officeart/2005/8/layout/list1"/>
    <dgm:cxn modelId="{33DB5841-2571-419F-A0C1-22A12D3E030A}" type="presParOf" srcId="{718EC1DA-0434-4389-9181-0E7061C55ABF}" destId="{9AC3DF1B-CB73-452F-9740-F87383FF9403}" srcOrd="8" destOrd="0" presId="urn:microsoft.com/office/officeart/2005/8/layout/list1"/>
    <dgm:cxn modelId="{8C251D10-7998-4E2E-87A5-1F1B51BDF7B4}" type="presParOf" srcId="{9AC3DF1B-CB73-452F-9740-F87383FF9403}" destId="{3FA4F964-6FA6-4E9E-B582-DEFD2CF69B6D}" srcOrd="0" destOrd="0" presId="urn:microsoft.com/office/officeart/2005/8/layout/list1"/>
    <dgm:cxn modelId="{4E8889AA-40A0-4A6A-9739-7FC711E4F5C9}" type="presParOf" srcId="{9AC3DF1B-CB73-452F-9740-F87383FF9403}" destId="{9FB3BA90-1E32-4593-BFF8-7C9D4FBA1EEB}" srcOrd="1" destOrd="0" presId="urn:microsoft.com/office/officeart/2005/8/layout/list1"/>
    <dgm:cxn modelId="{066F840C-C952-4F89-B455-87FD7D8F5E61}" type="presParOf" srcId="{718EC1DA-0434-4389-9181-0E7061C55ABF}" destId="{AF8157FD-A0B2-47FA-9A5E-A4FEB9BE9534}" srcOrd="9" destOrd="0" presId="urn:microsoft.com/office/officeart/2005/8/layout/list1"/>
    <dgm:cxn modelId="{C87DB278-C8F6-47EF-B187-0FD6D252533A}" type="presParOf" srcId="{718EC1DA-0434-4389-9181-0E7061C55ABF}" destId="{53D9E7F1-0F5A-4AC7-9CF1-CEE8CA9CAB01}"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75E354B-D03E-4394-918E-FBEDBE7647B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7FAA7C8A-B0A3-4498-BBE9-21AC7E94A3B5}">
      <dgm:prSet custT="1"/>
      <dgm:spPr/>
      <dgm:t>
        <a:bodyPr/>
        <a:lstStyle/>
        <a:p>
          <a:pPr algn="ctr"/>
          <a:r>
            <a:rPr lang="en-GB" sz="2400" baseline="0"/>
            <a:t>SELECT * FROM TBL</a:t>
          </a:r>
          <a:endParaRPr lang="en-US" sz="2400"/>
        </a:p>
      </dgm:t>
    </dgm:pt>
    <dgm:pt modelId="{0EA92393-2C25-4D08-9B94-8AD70C098F96}" type="parTrans" cxnId="{03929B08-F779-4DC3-B198-DD97CCA2485C}">
      <dgm:prSet/>
      <dgm:spPr/>
      <dgm:t>
        <a:bodyPr/>
        <a:lstStyle/>
        <a:p>
          <a:endParaRPr lang="en-US"/>
        </a:p>
      </dgm:t>
    </dgm:pt>
    <dgm:pt modelId="{45D56625-F9A2-48F3-B1CB-904E4F80BA5A}" type="sibTrans" cxnId="{03929B08-F779-4DC3-B198-DD97CCA2485C}">
      <dgm:prSet/>
      <dgm:spPr/>
      <dgm:t>
        <a:bodyPr/>
        <a:lstStyle/>
        <a:p>
          <a:endParaRPr lang="en-US"/>
        </a:p>
      </dgm:t>
    </dgm:pt>
    <dgm:pt modelId="{C7390D9B-750D-44CF-AA17-9DC59F95BB0E}">
      <dgm:prSet custT="1"/>
      <dgm:spPr/>
      <dgm:t>
        <a:bodyPr/>
        <a:lstStyle/>
        <a:p>
          <a:r>
            <a:rPr lang="en-GB" sz="2000" baseline="0"/>
            <a:t>Table level “row-count” statistics used to estimate number of rows &amp; table size</a:t>
          </a:r>
          <a:endParaRPr lang="en-US" sz="2000"/>
        </a:p>
      </dgm:t>
    </dgm:pt>
    <dgm:pt modelId="{2C4D574A-2B6B-452D-B933-B566826269CF}" type="parTrans" cxnId="{A27FDA79-885E-4B0A-9F1A-D30457DDD8BA}">
      <dgm:prSet/>
      <dgm:spPr/>
      <dgm:t>
        <a:bodyPr/>
        <a:lstStyle/>
        <a:p>
          <a:endParaRPr lang="en-US"/>
        </a:p>
      </dgm:t>
    </dgm:pt>
    <dgm:pt modelId="{2CD7CE8D-7EA2-4A9D-B4EE-DB27CE063721}" type="sibTrans" cxnId="{A27FDA79-885E-4B0A-9F1A-D30457DDD8BA}">
      <dgm:prSet/>
      <dgm:spPr/>
      <dgm:t>
        <a:bodyPr/>
        <a:lstStyle/>
        <a:p>
          <a:endParaRPr lang="en-US"/>
        </a:p>
      </dgm:t>
    </dgm:pt>
    <dgm:pt modelId="{840E01AC-789A-4C9A-8B5F-AEA4181FBC54}">
      <dgm:prSet custT="1"/>
      <dgm:spPr/>
      <dgm:t>
        <a:bodyPr/>
        <a:lstStyle/>
        <a:p>
          <a:pPr algn="ctr"/>
          <a:r>
            <a:rPr lang="en-GB" sz="2400" baseline="0" dirty="0"/>
            <a:t>SELECT * FROM TBL </a:t>
          </a:r>
        </a:p>
        <a:p>
          <a:pPr algn="ctr"/>
          <a:r>
            <a:rPr lang="en-GB" sz="2400" baseline="0" dirty="0"/>
            <a:t>WHERE height = 60</a:t>
          </a:r>
          <a:endParaRPr lang="en-US" sz="2400" dirty="0"/>
        </a:p>
      </dgm:t>
    </dgm:pt>
    <dgm:pt modelId="{32A0B522-C4FF-46EF-9143-F29EEB107EC5}" type="parTrans" cxnId="{31E79C0D-6720-4BBC-ABA5-16D012FDCE5A}">
      <dgm:prSet/>
      <dgm:spPr/>
      <dgm:t>
        <a:bodyPr/>
        <a:lstStyle/>
        <a:p>
          <a:endParaRPr lang="en-US"/>
        </a:p>
      </dgm:t>
    </dgm:pt>
    <dgm:pt modelId="{8A24AAAE-4137-4CF1-9AE9-16756621FDD5}" type="sibTrans" cxnId="{31E79C0D-6720-4BBC-ABA5-16D012FDCE5A}">
      <dgm:prSet/>
      <dgm:spPr/>
      <dgm:t>
        <a:bodyPr/>
        <a:lstStyle/>
        <a:p>
          <a:endParaRPr lang="en-US"/>
        </a:p>
      </dgm:t>
    </dgm:pt>
    <dgm:pt modelId="{1E0323C4-C822-4EA8-85A1-7055A4A4348B}">
      <dgm:prSet custT="1"/>
      <dgm:spPr/>
      <dgm:t>
        <a:bodyPr/>
        <a:lstStyle/>
        <a:p>
          <a:r>
            <a:rPr lang="en-GB" sz="2000" baseline="0"/>
            <a:t>Single column statistic on height has an approximation for number of rows</a:t>
          </a:r>
          <a:endParaRPr lang="en-US" sz="2000"/>
        </a:p>
      </dgm:t>
    </dgm:pt>
    <dgm:pt modelId="{90D07F91-29F7-42F2-8A9C-26154A609B53}" type="parTrans" cxnId="{42E4689F-1650-4D7B-B8B3-4435B4DACCAD}">
      <dgm:prSet/>
      <dgm:spPr/>
      <dgm:t>
        <a:bodyPr/>
        <a:lstStyle/>
        <a:p>
          <a:endParaRPr lang="en-US"/>
        </a:p>
      </dgm:t>
    </dgm:pt>
    <dgm:pt modelId="{27FB0D5D-CCC8-4820-82C7-3160D18A5356}" type="sibTrans" cxnId="{42E4689F-1650-4D7B-B8B3-4435B4DACCAD}">
      <dgm:prSet/>
      <dgm:spPr/>
      <dgm:t>
        <a:bodyPr/>
        <a:lstStyle/>
        <a:p>
          <a:endParaRPr lang="en-US"/>
        </a:p>
      </dgm:t>
    </dgm:pt>
    <dgm:pt modelId="{71C5D1CC-75E7-4571-B0D5-1F996DAD5EA9}">
      <dgm:prSet/>
      <dgm:spPr/>
      <dgm:t>
        <a:bodyPr/>
        <a:lstStyle/>
        <a:p>
          <a:pPr algn="ctr"/>
          <a:r>
            <a:rPr lang="en-GB" baseline="0" dirty="0"/>
            <a:t>SELECT * FROM TBL_01 </a:t>
          </a:r>
        </a:p>
        <a:p>
          <a:pPr algn="ctr"/>
          <a:r>
            <a:rPr lang="en-GB" baseline="0" dirty="0"/>
            <a:t>JOIN TBL_02 </a:t>
          </a:r>
        </a:p>
        <a:p>
          <a:pPr algn="ctr"/>
          <a:r>
            <a:rPr lang="en-GB" baseline="0" dirty="0"/>
            <a:t>ON height AND weight</a:t>
          </a:r>
          <a:endParaRPr lang="en-US" dirty="0"/>
        </a:p>
      </dgm:t>
    </dgm:pt>
    <dgm:pt modelId="{0A12C067-D381-4A7A-9661-D55134C96B15}" type="parTrans" cxnId="{74577F1A-189D-486D-A783-DE02F80BDE82}">
      <dgm:prSet/>
      <dgm:spPr/>
      <dgm:t>
        <a:bodyPr/>
        <a:lstStyle/>
        <a:p>
          <a:endParaRPr lang="en-US"/>
        </a:p>
      </dgm:t>
    </dgm:pt>
    <dgm:pt modelId="{51823C3B-AE1B-47C1-9192-7C93C60FC4BF}" type="sibTrans" cxnId="{74577F1A-189D-486D-A783-DE02F80BDE82}">
      <dgm:prSet/>
      <dgm:spPr/>
      <dgm:t>
        <a:bodyPr/>
        <a:lstStyle/>
        <a:p>
          <a:endParaRPr lang="en-US"/>
        </a:p>
      </dgm:t>
    </dgm:pt>
    <dgm:pt modelId="{CF9E1B34-BF4F-4401-BD57-F45C76C17DB5}">
      <dgm:prSet custT="1"/>
      <dgm:spPr/>
      <dgm:t>
        <a:bodyPr/>
        <a:lstStyle/>
        <a:p>
          <a:r>
            <a:rPr lang="en-GB" sz="2000" baseline="0"/>
            <a:t>Multi-column statistic with histogram on height and density correlation on height and weight estimates the number of rows</a:t>
          </a:r>
          <a:endParaRPr lang="en-US" sz="2000"/>
        </a:p>
      </dgm:t>
    </dgm:pt>
    <dgm:pt modelId="{D8EF64DF-450E-4595-B41D-DE920501ED54}" type="parTrans" cxnId="{7378A0B0-AEE4-4FAA-9454-84919FAF6A27}">
      <dgm:prSet/>
      <dgm:spPr/>
      <dgm:t>
        <a:bodyPr/>
        <a:lstStyle/>
        <a:p>
          <a:endParaRPr lang="en-US"/>
        </a:p>
      </dgm:t>
    </dgm:pt>
    <dgm:pt modelId="{17AA7D3C-D408-42B7-8EED-E2627A26E9C2}" type="sibTrans" cxnId="{7378A0B0-AEE4-4FAA-9454-84919FAF6A27}">
      <dgm:prSet/>
      <dgm:spPr/>
      <dgm:t>
        <a:bodyPr/>
        <a:lstStyle/>
        <a:p>
          <a:endParaRPr lang="en-US"/>
        </a:p>
      </dgm:t>
    </dgm:pt>
    <dgm:pt modelId="{B942F886-CBC5-4924-B4B9-291E7029FE78}" type="pres">
      <dgm:prSet presAssocID="{C75E354B-D03E-4394-918E-FBEDBE7647B1}" presName="Name0" presStyleCnt="0">
        <dgm:presLayoutVars>
          <dgm:dir/>
          <dgm:animLvl val="lvl"/>
          <dgm:resizeHandles val="exact"/>
        </dgm:presLayoutVars>
      </dgm:prSet>
      <dgm:spPr/>
    </dgm:pt>
    <dgm:pt modelId="{9D5E9AB1-A1B7-4694-B2CC-E221D010E176}" type="pres">
      <dgm:prSet presAssocID="{7FAA7C8A-B0A3-4498-BBE9-21AC7E94A3B5}" presName="linNode" presStyleCnt="0"/>
      <dgm:spPr/>
    </dgm:pt>
    <dgm:pt modelId="{07FE805E-9B60-42B7-9946-A2E01E0EE63D}" type="pres">
      <dgm:prSet presAssocID="{7FAA7C8A-B0A3-4498-BBE9-21AC7E94A3B5}" presName="parentText" presStyleLbl="node1" presStyleIdx="0" presStyleCnt="3">
        <dgm:presLayoutVars>
          <dgm:chMax val="1"/>
          <dgm:bulletEnabled val="1"/>
        </dgm:presLayoutVars>
      </dgm:prSet>
      <dgm:spPr/>
    </dgm:pt>
    <dgm:pt modelId="{A0F43853-04E7-4184-8AD2-259F7E0EAEFF}" type="pres">
      <dgm:prSet presAssocID="{7FAA7C8A-B0A3-4498-BBE9-21AC7E94A3B5}" presName="descendantText" presStyleLbl="alignAccFollowNode1" presStyleIdx="0" presStyleCnt="3">
        <dgm:presLayoutVars>
          <dgm:bulletEnabled val="1"/>
        </dgm:presLayoutVars>
      </dgm:prSet>
      <dgm:spPr/>
    </dgm:pt>
    <dgm:pt modelId="{F057EAD3-2AFF-4C7C-9A56-9DC89BAF197C}" type="pres">
      <dgm:prSet presAssocID="{45D56625-F9A2-48F3-B1CB-904E4F80BA5A}" presName="sp" presStyleCnt="0"/>
      <dgm:spPr/>
    </dgm:pt>
    <dgm:pt modelId="{DA9871E4-3055-4893-BD64-DD1F9E77940B}" type="pres">
      <dgm:prSet presAssocID="{840E01AC-789A-4C9A-8B5F-AEA4181FBC54}" presName="linNode" presStyleCnt="0"/>
      <dgm:spPr/>
    </dgm:pt>
    <dgm:pt modelId="{7E492289-6236-492A-B79D-37DAA14B3DE3}" type="pres">
      <dgm:prSet presAssocID="{840E01AC-789A-4C9A-8B5F-AEA4181FBC54}" presName="parentText" presStyleLbl="node1" presStyleIdx="1" presStyleCnt="3" custLinFactNeighborX="0" custLinFactNeighborY="510">
        <dgm:presLayoutVars>
          <dgm:chMax val="1"/>
          <dgm:bulletEnabled val="1"/>
        </dgm:presLayoutVars>
      </dgm:prSet>
      <dgm:spPr/>
    </dgm:pt>
    <dgm:pt modelId="{0EA9F77E-E4A7-4DE0-B42D-FAD3C68CE0DF}" type="pres">
      <dgm:prSet presAssocID="{840E01AC-789A-4C9A-8B5F-AEA4181FBC54}" presName="descendantText" presStyleLbl="alignAccFollowNode1" presStyleIdx="1" presStyleCnt="3">
        <dgm:presLayoutVars>
          <dgm:bulletEnabled val="1"/>
        </dgm:presLayoutVars>
      </dgm:prSet>
      <dgm:spPr/>
    </dgm:pt>
    <dgm:pt modelId="{C8E4F91E-8941-4F96-BEA8-5EB048716AAA}" type="pres">
      <dgm:prSet presAssocID="{8A24AAAE-4137-4CF1-9AE9-16756621FDD5}" presName="sp" presStyleCnt="0"/>
      <dgm:spPr/>
    </dgm:pt>
    <dgm:pt modelId="{69BA9145-4631-4AE2-9A14-1532D06E772D}" type="pres">
      <dgm:prSet presAssocID="{71C5D1CC-75E7-4571-B0D5-1F996DAD5EA9}" presName="linNode" presStyleCnt="0"/>
      <dgm:spPr/>
    </dgm:pt>
    <dgm:pt modelId="{A6F49223-A31F-43F8-B383-80C72A50F172}" type="pres">
      <dgm:prSet presAssocID="{71C5D1CC-75E7-4571-B0D5-1F996DAD5EA9}" presName="parentText" presStyleLbl="node1" presStyleIdx="2" presStyleCnt="3">
        <dgm:presLayoutVars>
          <dgm:chMax val="1"/>
          <dgm:bulletEnabled val="1"/>
        </dgm:presLayoutVars>
      </dgm:prSet>
      <dgm:spPr/>
    </dgm:pt>
    <dgm:pt modelId="{3E828525-CFE9-409D-B55D-B4FD0D144E13}" type="pres">
      <dgm:prSet presAssocID="{71C5D1CC-75E7-4571-B0D5-1F996DAD5EA9}" presName="descendantText" presStyleLbl="alignAccFollowNode1" presStyleIdx="2" presStyleCnt="3">
        <dgm:presLayoutVars>
          <dgm:bulletEnabled val="1"/>
        </dgm:presLayoutVars>
      </dgm:prSet>
      <dgm:spPr/>
    </dgm:pt>
  </dgm:ptLst>
  <dgm:cxnLst>
    <dgm:cxn modelId="{03929B08-F779-4DC3-B198-DD97CCA2485C}" srcId="{C75E354B-D03E-4394-918E-FBEDBE7647B1}" destId="{7FAA7C8A-B0A3-4498-BBE9-21AC7E94A3B5}" srcOrd="0" destOrd="0" parTransId="{0EA92393-2C25-4D08-9B94-8AD70C098F96}" sibTransId="{45D56625-F9A2-48F3-B1CB-904E4F80BA5A}"/>
    <dgm:cxn modelId="{31E79C0D-6720-4BBC-ABA5-16D012FDCE5A}" srcId="{C75E354B-D03E-4394-918E-FBEDBE7647B1}" destId="{840E01AC-789A-4C9A-8B5F-AEA4181FBC54}" srcOrd="1" destOrd="0" parTransId="{32A0B522-C4FF-46EF-9143-F29EEB107EC5}" sibTransId="{8A24AAAE-4137-4CF1-9AE9-16756621FDD5}"/>
    <dgm:cxn modelId="{74577F1A-189D-486D-A783-DE02F80BDE82}" srcId="{C75E354B-D03E-4394-918E-FBEDBE7647B1}" destId="{71C5D1CC-75E7-4571-B0D5-1F996DAD5EA9}" srcOrd="2" destOrd="0" parTransId="{0A12C067-D381-4A7A-9661-D55134C96B15}" sibTransId="{51823C3B-AE1B-47C1-9192-7C93C60FC4BF}"/>
    <dgm:cxn modelId="{EDE6311C-0049-493E-9DEF-A512E8D63C34}" type="presOf" srcId="{C7390D9B-750D-44CF-AA17-9DC59F95BB0E}" destId="{A0F43853-04E7-4184-8AD2-259F7E0EAEFF}" srcOrd="0" destOrd="0" presId="urn:microsoft.com/office/officeart/2005/8/layout/vList5"/>
    <dgm:cxn modelId="{6241A13F-72C0-499D-B7B6-6AE0AC5DC22F}" type="presOf" srcId="{1E0323C4-C822-4EA8-85A1-7055A4A4348B}" destId="{0EA9F77E-E4A7-4DE0-B42D-FAD3C68CE0DF}" srcOrd="0" destOrd="0" presId="urn:microsoft.com/office/officeart/2005/8/layout/vList5"/>
    <dgm:cxn modelId="{81A50A42-A935-422B-A11E-5E9B4B1A2D7C}" type="presOf" srcId="{840E01AC-789A-4C9A-8B5F-AEA4181FBC54}" destId="{7E492289-6236-492A-B79D-37DAA14B3DE3}" srcOrd="0" destOrd="0" presId="urn:microsoft.com/office/officeart/2005/8/layout/vList5"/>
    <dgm:cxn modelId="{50A4B546-06DC-416D-9F33-788B01F422E5}" type="presOf" srcId="{CF9E1B34-BF4F-4401-BD57-F45C76C17DB5}" destId="{3E828525-CFE9-409D-B55D-B4FD0D144E13}" srcOrd="0" destOrd="0" presId="urn:microsoft.com/office/officeart/2005/8/layout/vList5"/>
    <dgm:cxn modelId="{A27FDA79-885E-4B0A-9F1A-D30457DDD8BA}" srcId="{7FAA7C8A-B0A3-4498-BBE9-21AC7E94A3B5}" destId="{C7390D9B-750D-44CF-AA17-9DC59F95BB0E}" srcOrd="0" destOrd="0" parTransId="{2C4D574A-2B6B-452D-B933-B566826269CF}" sibTransId="{2CD7CE8D-7EA2-4A9D-B4EE-DB27CE063721}"/>
    <dgm:cxn modelId="{42E4689F-1650-4D7B-B8B3-4435B4DACCAD}" srcId="{840E01AC-789A-4C9A-8B5F-AEA4181FBC54}" destId="{1E0323C4-C822-4EA8-85A1-7055A4A4348B}" srcOrd="0" destOrd="0" parTransId="{90D07F91-29F7-42F2-8A9C-26154A609B53}" sibTransId="{27FB0D5D-CCC8-4820-82C7-3160D18A5356}"/>
    <dgm:cxn modelId="{378CB2AD-6320-42D4-9D3F-7E2CFA71EDAB}" type="presOf" srcId="{7FAA7C8A-B0A3-4498-BBE9-21AC7E94A3B5}" destId="{07FE805E-9B60-42B7-9946-A2E01E0EE63D}" srcOrd="0" destOrd="0" presId="urn:microsoft.com/office/officeart/2005/8/layout/vList5"/>
    <dgm:cxn modelId="{7378A0B0-AEE4-4FAA-9454-84919FAF6A27}" srcId="{71C5D1CC-75E7-4571-B0D5-1F996DAD5EA9}" destId="{CF9E1B34-BF4F-4401-BD57-F45C76C17DB5}" srcOrd="0" destOrd="0" parTransId="{D8EF64DF-450E-4595-B41D-DE920501ED54}" sibTransId="{17AA7D3C-D408-42B7-8EED-E2627A26E9C2}"/>
    <dgm:cxn modelId="{94FA45F8-E332-4ED8-8401-F130CDAD5255}" type="presOf" srcId="{C75E354B-D03E-4394-918E-FBEDBE7647B1}" destId="{B942F886-CBC5-4924-B4B9-291E7029FE78}" srcOrd="0" destOrd="0" presId="urn:microsoft.com/office/officeart/2005/8/layout/vList5"/>
    <dgm:cxn modelId="{496C83FD-C356-4372-B202-0D16638C55F1}" type="presOf" srcId="{71C5D1CC-75E7-4571-B0D5-1F996DAD5EA9}" destId="{A6F49223-A31F-43F8-B383-80C72A50F172}" srcOrd="0" destOrd="0" presId="urn:microsoft.com/office/officeart/2005/8/layout/vList5"/>
    <dgm:cxn modelId="{9F958BAA-AB74-47D2-9AAD-1B030231F7B5}" type="presParOf" srcId="{B942F886-CBC5-4924-B4B9-291E7029FE78}" destId="{9D5E9AB1-A1B7-4694-B2CC-E221D010E176}" srcOrd="0" destOrd="0" presId="urn:microsoft.com/office/officeart/2005/8/layout/vList5"/>
    <dgm:cxn modelId="{9305DA9A-4AFD-4530-888F-2BC49162659D}" type="presParOf" srcId="{9D5E9AB1-A1B7-4694-B2CC-E221D010E176}" destId="{07FE805E-9B60-42B7-9946-A2E01E0EE63D}" srcOrd="0" destOrd="0" presId="urn:microsoft.com/office/officeart/2005/8/layout/vList5"/>
    <dgm:cxn modelId="{A7E92F8F-BE23-4759-83AC-343C7796B5CA}" type="presParOf" srcId="{9D5E9AB1-A1B7-4694-B2CC-E221D010E176}" destId="{A0F43853-04E7-4184-8AD2-259F7E0EAEFF}" srcOrd="1" destOrd="0" presId="urn:microsoft.com/office/officeart/2005/8/layout/vList5"/>
    <dgm:cxn modelId="{CBC8F566-586C-4855-AB4C-577DEE0FEE1F}" type="presParOf" srcId="{B942F886-CBC5-4924-B4B9-291E7029FE78}" destId="{F057EAD3-2AFF-4C7C-9A56-9DC89BAF197C}" srcOrd="1" destOrd="0" presId="urn:microsoft.com/office/officeart/2005/8/layout/vList5"/>
    <dgm:cxn modelId="{FA8AA7D9-437A-4DFC-A8AB-13EF370DF3FC}" type="presParOf" srcId="{B942F886-CBC5-4924-B4B9-291E7029FE78}" destId="{DA9871E4-3055-4893-BD64-DD1F9E77940B}" srcOrd="2" destOrd="0" presId="urn:microsoft.com/office/officeart/2005/8/layout/vList5"/>
    <dgm:cxn modelId="{E0AD3BEC-4E8A-4B5F-B38B-E9B0352EDFFF}" type="presParOf" srcId="{DA9871E4-3055-4893-BD64-DD1F9E77940B}" destId="{7E492289-6236-492A-B79D-37DAA14B3DE3}" srcOrd="0" destOrd="0" presId="urn:microsoft.com/office/officeart/2005/8/layout/vList5"/>
    <dgm:cxn modelId="{433C7977-4523-4BF3-A226-FE8283117313}" type="presParOf" srcId="{DA9871E4-3055-4893-BD64-DD1F9E77940B}" destId="{0EA9F77E-E4A7-4DE0-B42D-FAD3C68CE0DF}" srcOrd="1" destOrd="0" presId="urn:microsoft.com/office/officeart/2005/8/layout/vList5"/>
    <dgm:cxn modelId="{7BC2688D-2977-4D1F-960B-55E5F6672637}" type="presParOf" srcId="{B942F886-CBC5-4924-B4B9-291E7029FE78}" destId="{C8E4F91E-8941-4F96-BEA8-5EB048716AAA}" srcOrd="3" destOrd="0" presId="urn:microsoft.com/office/officeart/2005/8/layout/vList5"/>
    <dgm:cxn modelId="{846917F8-E7FA-490F-A70D-B62B45F83E74}" type="presParOf" srcId="{B942F886-CBC5-4924-B4B9-291E7029FE78}" destId="{69BA9145-4631-4AE2-9A14-1532D06E772D}" srcOrd="4" destOrd="0" presId="urn:microsoft.com/office/officeart/2005/8/layout/vList5"/>
    <dgm:cxn modelId="{2CBEA3BC-EFBC-4BAB-83F8-1207B30D5E67}" type="presParOf" srcId="{69BA9145-4631-4AE2-9A14-1532D06E772D}" destId="{A6F49223-A31F-43F8-B383-80C72A50F172}" srcOrd="0" destOrd="0" presId="urn:microsoft.com/office/officeart/2005/8/layout/vList5"/>
    <dgm:cxn modelId="{51386EED-CC3B-48F3-BC9A-ADC630A2D0D2}" type="presParOf" srcId="{69BA9145-4631-4AE2-9A14-1532D06E772D}" destId="{3E828525-CFE9-409D-B55D-B4FD0D144E1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C413EE9-9FFF-4650-933E-6C4FA37783F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A57FDA1-7A0E-4D2F-8CA2-1EB9E515A641}">
      <dgm:prSet custT="1"/>
      <dgm:spPr/>
      <dgm:t>
        <a:bodyPr/>
        <a:lstStyle/>
        <a:p>
          <a:r>
            <a:rPr lang="en-GB" sz="3200" baseline="0"/>
            <a:t>Requires ALTER permission on the table</a:t>
          </a:r>
          <a:endParaRPr lang="en-US" sz="3200"/>
        </a:p>
      </dgm:t>
    </dgm:pt>
    <dgm:pt modelId="{75B4F302-B066-4595-A19B-6FC80E80CB21}" type="parTrans" cxnId="{E51709BC-BA8F-4461-A68D-3EF60AD12472}">
      <dgm:prSet/>
      <dgm:spPr/>
      <dgm:t>
        <a:bodyPr/>
        <a:lstStyle/>
        <a:p>
          <a:endParaRPr lang="en-US" sz="1200"/>
        </a:p>
      </dgm:t>
    </dgm:pt>
    <dgm:pt modelId="{FE9B6929-849F-4817-B660-8B7D741257AE}" type="sibTrans" cxnId="{E51709BC-BA8F-4461-A68D-3EF60AD12472}">
      <dgm:prSet/>
      <dgm:spPr/>
      <dgm:t>
        <a:bodyPr/>
        <a:lstStyle/>
        <a:p>
          <a:endParaRPr lang="en-US" sz="1200"/>
        </a:p>
      </dgm:t>
    </dgm:pt>
    <dgm:pt modelId="{2DBA81D0-FB81-4868-8E26-398C197BC5AA}">
      <dgm:prSet custT="1"/>
      <dgm:spPr/>
      <dgm:t>
        <a:bodyPr/>
        <a:lstStyle/>
        <a:p>
          <a:r>
            <a:rPr lang="en-GB" sz="3200" baseline="0"/>
            <a:t>Can only drop user generated stats</a:t>
          </a:r>
          <a:endParaRPr lang="en-US" sz="3200"/>
        </a:p>
      </dgm:t>
    </dgm:pt>
    <dgm:pt modelId="{15689542-1917-40E4-B042-488AD58D0FCC}" type="parTrans" cxnId="{13E21B87-795C-4CDC-9095-A82EAEF0A218}">
      <dgm:prSet/>
      <dgm:spPr/>
      <dgm:t>
        <a:bodyPr/>
        <a:lstStyle/>
        <a:p>
          <a:endParaRPr lang="en-US" sz="1200"/>
        </a:p>
      </dgm:t>
    </dgm:pt>
    <dgm:pt modelId="{57318F6F-A2E4-4F43-BA37-1BFD25668B4D}" type="sibTrans" cxnId="{13E21B87-795C-4CDC-9095-A82EAEF0A218}">
      <dgm:prSet/>
      <dgm:spPr/>
      <dgm:t>
        <a:bodyPr/>
        <a:lstStyle/>
        <a:p>
          <a:endParaRPr lang="en-US" sz="1200"/>
        </a:p>
      </dgm:t>
    </dgm:pt>
    <dgm:pt modelId="{C7EC8A89-123C-4AF1-ABD4-37FF42732D30}" type="pres">
      <dgm:prSet presAssocID="{1C413EE9-9FFF-4650-933E-6C4FA37783F3}" presName="linear" presStyleCnt="0">
        <dgm:presLayoutVars>
          <dgm:animLvl val="lvl"/>
          <dgm:resizeHandles val="exact"/>
        </dgm:presLayoutVars>
      </dgm:prSet>
      <dgm:spPr/>
    </dgm:pt>
    <dgm:pt modelId="{CC005BC6-8830-4BCA-AA4D-319A93A9781A}" type="pres">
      <dgm:prSet presAssocID="{6A57FDA1-7A0E-4D2F-8CA2-1EB9E515A641}" presName="parentText" presStyleLbl="node1" presStyleIdx="0" presStyleCnt="2" custLinFactNeighborX="28940" custLinFactNeighborY="2433">
        <dgm:presLayoutVars>
          <dgm:chMax val="0"/>
          <dgm:bulletEnabled val="1"/>
        </dgm:presLayoutVars>
      </dgm:prSet>
      <dgm:spPr/>
    </dgm:pt>
    <dgm:pt modelId="{6702238D-7895-432F-B664-037F2783A452}" type="pres">
      <dgm:prSet presAssocID="{FE9B6929-849F-4817-B660-8B7D741257AE}" presName="spacer" presStyleCnt="0"/>
      <dgm:spPr/>
    </dgm:pt>
    <dgm:pt modelId="{162C5B91-9927-421E-99FE-A42659B78710}" type="pres">
      <dgm:prSet presAssocID="{2DBA81D0-FB81-4868-8E26-398C197BC5AA}" presName="parentText" presStyleLbl="node1" presStyleIdx="1" presStyleCnt="2">
        <dgm:presLayoutVars>
          <dgm:chMax val="0"/>
          <dgm:bulletEnabled val="1"/>
        </dgm:presLayoutVars>
      </dgm:prSet>
      <dgm:spPr/>
    </dgm:pt>
  </dgm:ptLst>
  <dgm:cxnLst>
    <dgm:cxn modelId="{A4DBCD0C-9B9E-4AD0-9B81-07DF64359A1C}" type="presOf" srcId="{6A57FDA1-7A0E-4D2F-8CA2-1EB9E515A641}" destId="{CC005BC6-8830-4BCA-AA4D-319A93A9781A}" srcOrd="0" destOrd="0" presId="urn:microsoft.com/office/officeart/2005/8/layout/vList2"/>
    <dgm:cxn modelId="{13E21B87-795C-4CDC-9095-A82EAEF0A218}" srcId="{1C413EE9-9FFF-4650-933E-6C4FA37783F3}" destId="{2DBA81D0-FB81-4868-8E26-398C197BC5AA}" srcOrd="1" destOrd="0" parTransId="{15689542-1917-40E4-B042-488AD58D0FCC}" sibTransId="{57318F6F-A2E4-4F43-BA37-1BFD25668B4D}"/>
    <dgm:cxn modelId="{5B80A5A6-59F2-45A7-8213-BDF5CC4E0D0E}" type="presOf" srcId="{2DBA81D0-FB81-4868-8E26-398C197BC5AA}" destId="{162C5B91-9927-421E-99FE-A42659B78710}" srcOrd="0" destOrd="0" presId="urn:microsoft.com/office/officeart/2005/8/layout/vList2"/>
    <dgm:cxn modelId="{E51709BC-BA8F-4461-A68D-3EF60AD12472}" srcId="{1C413EE9-9FFF-4650-933E-6C4FA37783F3}" destId="{6A57FDA1-7A0E-4D2F-8CA2-1EB9E515A641}" srcOrd="0" destOrd="0" parTransId="{75B4F302-B066-4595-A19B-6FC80E80CB21}" sibTransId="{FE9B6929-849F-4817-B660-8B7D741257AE}"/>
    <dgm:cxn modelId="{1A6558E5-FC51-44EA-B013-922D54D9073B}" type="presOf" srcId="{1C413EE9-9FFF-4650-933E-6C4FA37783F3}" destId="{C7EC8A89-123C-4AF1-ABD4-37FF42732D30}" srcOrd="0" destOrd="0" presId="urn:microsoft.com/office/officeart/2005/8/layout/vList2"/>
    <dgm:cxn modelId="{5A40715E-4FB9-4414-B488-EA7CD012CAA8}" type="presParOf" srcId="{C7EC8A89-123C-4AF1-ABD4-37FF42732D30}" destId="{CC005BC6-8830-4BCA-AA4D-319A93A9781A}" srcOrd="0" destOrd="0" presId="urn:microsoft.com/office/officeart/2005/8/layout/vList2"/>
    <dgm:cxn modelId="{B826C649-DAD6-41FF-B565-503EC97BB8D7}" type="presParOf" srcId="{C7EC8A89-123C-4AF1-ABD4-37FF42732D30}" destId="{6702238D-7895-432F-B664-037F2783A452}" srcOrd="1" destOrd="0" presId="urn:microsoft.com/office/officeart/2005/8/layout/vList2"/>
    <dgm:cxn modelId="{8793AE26-1FDE-4468-9908-87CB345A1836}" type="presParOf" srcId="{C7EC8A89-123C-4AF1-ABD4-37FF42732D30}" destId="{162C5B91-9927-421E-99FE-A42659B78710}"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7174053-C530-4158-96BC-44479E96C0DC}"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260E78B-27DE-45EA-A0D4-EEF74387AF0D}">
      <dgm:prSet custT="1"/>
      <dgm:spPr/>
      <dgm:t>
        <a:bodyPr/>
        <a:lstStyle/>
        <a:p>
          <a:r>
            <a:rPr lang="en-GB" sz="3600" baseline="0" dirty="0"/>
            <a:t>Query Optimizers use statistics:</a:t>
          </a:r>
          <a:endParaRPr lang="en-US" sz="3600" dirty="0"/>
        </a:p>
      </dgm:t>
    </dgm:pt>
    <dgm:pt modelId="{896BDA8C-7629-4FF9-B155-59B7DFA96D23}" type="parTrans" cxnId="{224D6B69-C140-40AA-9E41-CBBADBE90C2B}">
      <dgm:prSet/>
      <dgm:spPr/>
      <dgm:t>
        <a:bodyPr/>
        <a:lstStyle/>
        <a:p>
          <a:endParaRPr lang="en-US"/>
        </a:p>
      </dgm:t>
    </dgm:pt>
    <dgm:pt modelId="{4B78541A-518E-49FA-8717-686E92D1CCC0}" type="sibTrans" cxnId="{224D6B69-C140-40AA-9E41-CBBADBE90C2B}">
      <dgm:prSet/>
      <dgm:spPr/>
      <dgm:t>
        <a:bodyPr/>
        <a:lstStyle/>
        <a:p>
          <a:endParaRPr lang="en-US"/>
        </a:p>
      </dgm:t>
    </dgm:pt>
    <dgm:pt modelId="{68DAFA46-84BF-4655-8816-35DC3A7030BA}">
      <dgm:prSet custT="1"/>
      <dgm:spPr/>
      <dgm:t>
        <a:bodyPr/>
        <a:lstStyle/>
        <a:p>
          <a:r>
            <a:rPr lang="en-GB" sz="2800" baseline="0"/>
            <a:t>Estimate number of rows impacted by the query</a:t>
          </a:r>
          <a:endParaRPr lang="en-US" sz="2800"/>
        </a:p>
      </dgm:t>
    </dgm:pt>
    <dgm:pt modelId="{4D68470C-A88C-4E38-BA76-6B9DEBA73AAF}" type="parTrans" cxnId="{12F312B3-0D32-4426-BFD2-350E55423EC1}">
      <dgm:prSet/>
      <dgm:spPr/>
      <dgm:t>
        <a:bodyPr/>
        <a:lstStyle/>
        <a:p>
          <a:endParaRPr lang="en-US"/>
        </a:p>
      </dgm:t>
    </dgm:pt>
    <dgm:pt modelId="{CFDF62AC-B095-49BB-A892-AF135C78E72A}" type="sibTrans" cxnId="{12F312B3-0D32-4426-BFD2-350E55423EC1}">
      <dgm:prSet/>
      <dgm:spPr/>
      <dgm:t>
        <a:bodyPr/>
        <a:lstStyle/>
        <a:p>
          <a:endParaRPr lang="en-US"/>
        </a:p>
      </dgm:t>
    </dgm:pt>
    <dgm:pt modelId="{90C8C5D6-0BAE-46A1-AB0C-4CF045426108}">
      <dgm:prSet custT="1"/>
      <dgm:spPr/>
      <dgm:t>
        <a:bodyPr/>
        <a:lstStyle/>
        <a:p>
          <a:r>
            <a:rPr lang="en-GB" sz="2800" baseline="0"/>
            <a:t>Assign estimated costs to execution plan operators</a:t>
          </a:r>
          <a:endParaRPr lang="en-US" sz="2800"/>
        </a:p>
      </dgm:t>
    </dgm:pt>
    <dgm:pt modelId="{430874D6-57EE-4A9F-B7C9-CF54B74F04F6}" type="parTrans" cxnId="{C42AA11F-734B-426E-AF6A-5EFEC1B166CA}">
      <dgm:prSet/>
      <dgm:spPr/>
      <dgm:t>
        <a:bodyPr/>
        <a:lstStyle/>
        <a:p>
          <a:endParaRPr lang="en-US"/>
        </a:p>
      </dgm:t>
    </dgm:pt>
    <dgm:pt modelId="{25F8AD38-B54B-4FCA-8333-819F496C9F38}" type="sibTrans" cxnId="{C42AA11F-734B-426E-AF6A-5EFEC1B166CA}">
      <dgm:prSet/>
      <dgm:spPr/>
      <dgm:t>
        <a:bodyPr/>
        <a:lstStyle/>
        <a:p>
          <a:endParaRPr lang="en-US"/>
        </a:p>
      </dgm:t>
    </dgm:pt>
    <dgm:pt modelId="{26BCDB42-7458-4E6E-9322-F8A5A397DE77}">
      <dgm:prSet custT="1"/>
      <dgm:spPr/>
      <dgm:t>
        <a:bodyPr/>
        <a:lstStyle/>
        <a:p>
          <a:r>
            <a:rPr lang="en-GB" sz="2800" baseline="0"/>
            <a:t>Choose robust, good enough, plan to fulfil a query </a:t>
          </a:r>
          <a:endParaRPr lang="en-US" sz="2800"/>
        </a:p>
      </dgm:t>
    </dgm:pt>
    <dgm:pt modelId="{470B1D45-AD2B-4D21-A471-3A2D2E9F114A}" type="parTrans" cxnId="{200E8193-E24E-484F-8F4D-83AEA2224279}">
      <dgm:prSet/>
      <dgm:spPr/>
      <dgm:t>
        <a:bodyPr/>
        <a:lstStyle/>
        <a:p>
          <a:endParaRPr lang="en-US"/>
        </a:p>
      </dgm:t>
    </dgm:pt>
    <dgm:pt modelId="{51966C8E-6D9A-4CB3-86E5-7065BD99B33D}" type="sibTrans" cxnId="{200E8193-E24E-484F-8F4D-83AEA2224279}">
      <dgm:prSet/>
      <dgm:spPr/>
      <dgm:t>
        <a:bodyPr/>
        <a:lstStyle/>
        <a:p>
          <a:endParaRPr lang="en-US"/>
        </a:p>
      </dgm:t>
    </dgm:pt>
    <dgm:pt modelId="{547B418C-FD58-407C-BA1D-FD9CC927493D}">
      <dgm:prSet custT="1"/>
      <dgm:spPr/>
      <dgm:t>
        <a:bodyPr/>
        <a:lstStyle/>
        <a:p>
          <a:r>
            <a:rPr lang="en-GB" sz="2800" baseline="0"/>
            <a:t>Plan choice based on the lowest cost for execution</a:t>
          </a:r>
          <a:endParaRPr lang="en-US" sz="2800"/>
        </a:p>
      </dgm:t>
    </dgm:pt>
    <dgm:pt modelId="{1C4267EB-2ABF-4747-A7E7-85359CCC3C31}" type="parTrans" cxnId="{6771638C-2421-421C-BA61-65C9131D0660}">
      <dgm:prSet/>
      <dgm:spPr/>
      <dgm:t>
        <a:bodyPr/>
        <a:lstStyle/>
        <a:p>
          <a:endParaRPr lang="en-US"/>
        </a:p>
      </dgm:t>
    </dgm:pt>
    <dgm:pt modelId="{55D264F4-183A-4BD9-9FD4-E44E0CC74C4B}" type="sibTrans" cxnId="{6771638C-2421-421C-BA61-65C9131D0660}">
      <dgm:prSet/>
      <dgm:spPr/>
      <dgm:t>
        <a:bodyPr/>
        <a:lstStyle/>
        <a:p>
          <a:endParaRPr lang="en-US"/>
        </a:p>
      </dgm:t>
    </dgm:pt>
    <dgm:pt modelId="{C57E586A-4B22-44D7-9F37-46429D1A35D6}">
      <dgm:prSet custT="1"/>
      <dgm:spPr/>
      <dgm:t>
        <a:bodyPr/>
        <a:lstStyle/>
        <a:p>
          <a:r>
            <a:rPr lang="en-GB" sz="2800" baseline="0"/>
            <a:t>Good estimation accurately reflects the # of rows being processed</a:t>
          </a:r>
          <a:endParaRPr lang="en-US" sz="2800"/>
        </a:p>
      </dgm:t>
    </dgm:pt>
    <dgm:pt modelId="{A3A7AE9B-03BD-45B8-B30A-67EB1080D2AC}" type="parTrans" cxnId="{1E623E15-829F-444E-94E4-D58BB200D8FD}">
      <dgm:prSet/>
      <dgm:spPr/>
      <dgm:t>
        <a:bodyPr/>
        <a:lstStyle/>
        <a:p>
          <a:endParaRPr lang="en-US"/>
        </a:p>
      </dgm:t>
    </dgm:pt>
    <dgm:pt modelId="{C8E29B76-0FDA-4E51-B33A-0209EF6EAE96}" type="sibTrans" cxnId="{1E623E15-829F-444E-94E4-D58BB200D8FD}">
      <dgm:prSet/>
      <dgm:spPr/>
      <dgm:t>
        <a:bodyPr/>
        <a:lstStyle/>
        <a:p>
          <a:endParaRPr lang="en-US"/>
        </a:p>
      </dgm:t>
    </dgm:pt>
    <dgm:pt modelId="{250E9C9B-5144-4597-8AF3-19AAD6770011}">
      <dgm:prSet custT="1"/>
      <dgm:spPr/>
      <dgm:t>
        <a:bodyPr/>
        <a:lstStyle/>
        <a:p>
          <a:r>
            <a:rPr lang="en-GB" sz="2800" baseline="0"/>
            <a:t>Enables the most appropriate plan to be chosen</a:t>
          </a:r>
          <a:endParaRPr lang="en-US" sz="2800"/>
        </a:p>
      </dgm:t>
    </dgm:pt>
    <dgm:pt modelId="{819E1B86-44F4-431A-80E7-B6A729EA0F4B}" type="parTrans" cxnId="{305EB448-ADA3-4DE6-A9DC-3B24DF479B6F}">
      <dgm:prSet/>
      <dgm:spPr/>
      <dgm:t>
        <a:bodyPr/>
        <a:lstStyle/>
        <a:p>
          <a:endParaRPr lang="en-US"/>
        </a:p>
      </dgm:t>
    </dgm:pt>
    <dgm:pt modelId="{CCBC5D90-9DFA-42F2-8D97-9D566B9959D5}" type="sibTrans" cxnId="{305EB448-ADA3-4DE6-A9DC-3B24DF479B6F}">
      <dgm:prSet/>
      <dgm:spPr/>
      <dgm:t>
        <a:bodyPr/>
        <a:lstStyle/>
        <a:p>
          <a:endParaRPr lang="en-US"/>
        </a:p>
      </dgm:t>
    </dgm:pt>
    <dgm:pt modelId="{ED14F14B-E9A6-467D-AF91-ED830B2B0D38}" type="pres">
      <dgm:prSet presAssocID="{D7174053-C530-4158-96BC-44479E96C0DC}" presName="Name0" presStyleCnt="0">
        <dgm:presLayoutVars>
          <dgm:dir/>
          <dgm:animLvl val="lvl"/>
          <dgm:resizeHandles val="exact"/>
        </dgm:presLayoutVars>
      </dgm:prSet>
      <dgm:spPr/>
    </dgm:pt>
    <dgm:pt modelId="{25B2DB5C-0FC2-474A-A1F9-7FE217CFBC81}" type="pres">
      <dgm:prSet presAssocID="{7260E78B-27DE-45EA-A0D4-EEF74387AF0D}" presName="composite" presStyleCnt="0"/>
      <dgm:spPr/>
    </dgm:pt>
    <dgm:pt modelId="{9B1BDE05-1C94-49B0-847D-B6E0F6584093}" type="pres">
      <dgm:prSet presAssocID="{7260E78B-27DE-45EA-A0D4-EEF74387AF0D}" presName="parTx" presStyleLbl="alignNode1" presStyleIdx="0" presStyleCnt="1">
        <dgm:presLayoutVars>
          <dgm:chMax val="0"/>
          <dgm:chPref val="0"/>
          <dgm:bulletEnabled val="1"/>
        </dgm:presLayoutVars>
      </dgm:prSet>
      <dgm:spPr/>
    </dgm:pt>
    <dgm:pt modelId="{CB8B0999-7DA8-48B9-B5CD-4FD340EFC1F3}" type="pres">
      <dgm:prSet presAssocID="{7260E78B-27DE-45EA-A0D4-EEF74387AF0D}" presName="desTx" presStyleLbl="alignAccFollowNode1" presStyleIdx="0" presStyleCnt="1">
        <dgm:presLayoutVars>
          <dgm:bulletEnabled val="1"/>
        </dgm:presLayoutVars>
      </dgm:prSet>
      <dgm:spPr/>
    </dgm:pt>
  </dgm:ptLst>
  <dgm:cxnLst>
    <dgm:cxn modelId="{1E623E15-829F-444E-94E4-D58BB200D8FD}" srcId="{7260E78B-27DE-45EA-A0D4-EEF74387AF0D}" destId="{C57E586A-4B22-44D7-9F37-46429D1A35D6}" srcOrd="4" destOrd="0" parTransId="{A3A7AE9B-03BD-45B8-B30A-67EB1080D2AC}" sibTransId="{C8E29B76-0FDA-4E51-B33A-0209EF6EAE96}"/>
    <dgm:cxn modelId="{C42AA11F-734B-426E-AF6A-5EFEC1B166CA}" srcId="{7260E78B-27DE-45EA-A0D4-EEF74387AF0D}" destId="{90C8C5D6-0BAE-46A1-AB0C-4CF045426108}" srcOrd="1" destOrd="0" parTransId="{430874D6-57EE-4A9F-B7C9-CF54B74F04F6}" sibTransId="{25F8AD38-B54B-4FCA-8333-819F496C9F38}"/>
    <dgm:cxn modelId="{0F6F5B21-1D97-4666-A4E8-ED00263CAB96}" type="presOf" srcId="{26BCDB42-7458-4E6E-9322-F8A5A397DE77}" destId="{CB8B0999-7DA8-48B9-B5CD-4FD340EFC1F3}" srcOrd="0" destOrd="2" presId="urn:microsoft.com/office/officeart/2005/8/layout/hList1"/>
    <dgm:cxn modelId="{305EB448-ADA3-4DE6-A9DC-3B24DF479B6F}" srcId="{7260E78B-27DE-45EA-A0D4-EEF74387AF0D}" destId="{250E9C9B-5144-4597-8AF3-19AAD6770011}" srcOrd="5" destOrd="0" parTransId="{819E1B86-44F4-431A-80E7-B6A729EA0F4B}" sibTransId="{CCBC5D90-9DFA-42F2-8D97-9D566B9959D5}"/>
    <dgm:cxn modelId="{224D6B69-C140-40AA-9E41-CBBADBE90C2B}" srcId="{D7174053-C530-4158-96BC-44479E96C0DC}" destId="{7260E78B-27DE-45EA-A0D4-EEF74387AF0D}" srcOrd="0" destOrd="0" parTransId="{896BDA8C-7629-4FF9-B155-59B7DFA96D23}" sibTransId="{4B78541A-518E-49FA-8717-686E92D1CCC0}"/>
    <dgm:cxn modelId="{1C9A5D74-28C3-4676-9C40-5BF77225517C}" type="presOf" srcId="{250E9C9B-5144-4597-8AF3-19AAD6770011}" destId="{CB8B0999-7DA8-48B9-B5CD-4FD340EFC1F3}" srcOrd="0" destOrd="5" presId="urn:microsoft.com/office/officeart/2005/8/layout/hList1"/>
    <dgm:cxn modelId="{F85F9681-D540-4FA5-9A85-3F722FE7B3A3}" type="presOf" srcId="{7260E78B-27DE-45EA-A0D4-EEF74387AF0D}" destId="{9B1BDE05-1C94-49B0-847D-B6E0F6584093}" srcOrd="0" destOrd="0" presId="urn:microsoft.com/office/officeart/2005/8/layout/hList1"/>
    <dgm:cxn modelId="{6771638C-2421-421C-BA61-65C9131D0660}" srcId="{7260E78B-27DE-45EA-A0D4-EEF74387AF0D}" destId="{547B418C-FD58-407C-BA1D-FD9CC927493D}" srcOrd="3" destOrd="0" parTransId="{1C4267EB-2ABF-4747-A7E7-85359CCC3C31}" sibTransId="{55D264F4-183A-4BD9-9FD4-E44E0CC74C4B}"/>
    <dgm:cxn modelId="{200E8193-E24E-484F-8F4D-83AEA2224279}" srcId="{7260E78B-27DE-45EA-A0D4-EEF74387AF0D}" destId="{26BCDB42-7458-4E6E-9322-F8A5A397DE77}" srcOrd="2" destOrd="0" parTransId="{470B1D45-AD2B-4D21-A471-3A2D2E9F114A}" sibTransId="{51966C8E-6D9A-4CB3-86E5-7065BD99B33D}"/>
    <dgm:cxn modelId="{93D23CA5-9E82-45F3-9667-87A55EEAEAB2}" type="presOf" srcId="{D7174053-C530-4158-96BC-44479E96C0DC}" destId="{ED14F14B-E9A6-467D-AF91-ED830B2B0D38}" srcOrd="0" destOrd="0" presId="urn:microsoft.com/office/officeart/2005/8/layout/hList1"/>
    <dgm:cxn modelId="{12F312B3-0D32-4426-BFD2-350E55423EC1}" srcId="{7260E78B-27DE-45EA-A0D4-EEF74387AF0D}" destId="{68DAFA46-84BF-4655-8816-35DC3A7030BA}" srcOrd="0" destOrd="0" parTransId="{4D68470C-A88C-4E38-BA76-6B9DEBA73AAF}" sibTransId="{CFDF62AC-B095-49BB-A892-AF135C78E72A}"/>
    <dgm:cxn modelId="{2F6A63C0-75AF-4CDA-928C-9A19ECA3D09C}" type="presOf" srcId="{90C8C5D6-0BAE-46A1-AB0C-4CF045426108}" destId="{CB8B0999-7DA8-48B9-B5CD-4FD340EFC1F3}" srcOrd="0" destOrd="1" presId="urn:microsoft.com/office/officeart/2005/8/layout/hList1"/>
    <dgm:cxn modelId="{111244C2-02D0-480C-8EA9-E232059B8EFF}" type="presOf" srcId="{68DAFA46-84BF-4655-8816-35DC3A7030BA}" destId="{CB8B0999-7DA8-48B9-B5CD-4FD340EFC1F3}" srcOrd="0" destOrd="0" presId="urn:microsoft.com/office/officeart/2005/8/layout/hList1"/>
    <dgm:cxn modelId="{29EA54CF-534A-44D4-A8D6-554E3E0429F8}" type="presOf" srcId="{C57E586A-4B22-44D7-9F37-46429D1A35D6}" destId="{CB8B0999-7DA8-48B9-B5CD-4FD340EFC1F3}" srcOrd="0" destOrd="4" presId="urn:microsoft.com/office/officeart/2005/8/layout/hList1"/>
    <dgm:cxn modelId="{A13650E7-29B1-4CC5-AADB-2B0EE691A701}" type="presOf" srcId="{547B418C-FD58-407C-BA1D-FD9CC927493D}" destId="{CB8B0999-7DA8-48B9-B5CD-4FD340EFC1F3}" srcOrd="0" destOrd="3" presId="urn:microsoft.com/office/officeart/2005/8/layout/hList1"/>
    <dgm:cxn modelId="{326AC8B5-67AA-4FCF-A57E-B4A10A2E5226}" type="presParOf" srcId="{ED14F14B-E9A6-467D-AF91-ED830B2B0D38}" destId="{25B2DB5C-0FC2-474A-A1F9-7FE217CFBC81}" srcOrd="0" destOrd="0" presId="urn:microsoft.com/office/officeart/2005/8/layout/hList1"/>
    <dgm:cxn modelId="{8E2ABD70-E4BB-43F2-848C-42209DBF95E7}" type="presParOf" srcId="{25B2DB5C-0FC2-474A-A1F9-7FE217CFBC81}" destId="{9B1BDE05-1C94-49B0-847D-B6E0F6584093}" srcOrd="0" destOrd="0" presId="urn:microsoft.com/office/officeart/2005/8/layout/hList1"/>
    <dgm:cxn modelId="{2C962A83-2C0A-4DE4-93BF-8100CA519376}" type="presParOf" srcId="{25B2DB5C-0FC2-474A-A1F9-7FE217CFBC81}" destId="{CB8B0999-7DA8-48B9-B5CD-4FD340EFC1F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0D0C97-F852-4426-AB6D-F331B4B23785}"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7411181C-4958-4B31-B9CB-767E225A2B1F}">
      <dgm:prSet custT="1"/>
      <dgm:spPr/>
      <dgm:t>
        <a:bodyPr/>
        <a:lstStyle/>
        <a:p>
          <a:r>
            <a:rPr lang="en-GB" sz="3600" baseline="0"/>
            <a:t>SQL Pool MPP Query Engine</a:t>
          </a:r>
          <a:endParaRPr lang="en-US" sz="4200"/>
        </a:p>
      </dgm:t>
    </dgm:pt>
    <dgm:pt modelId="{C9F7D66A-7028-4CC8-8C89-E72BE86A7145}" type="parTrans" cxnId="{7C5CBE4F-CE25-4A7F-AEC0-1802C244B00B}">
      <dgm:prSet/>
      <dgm:spPr/>
      <dgm:t>
        <a:bodyPr/>
        <a:lstStyle/>
        <a:p>
          <a:endParaRPr lang="en-US"/>
        </a:p>
      </dgm:t>
    </dgm:pt>
    <dgm:pt modelId="{A8A19844-8BBF-467C-8DA8-81BB07AAC78B}" type="sibTrans" cxnId="{7C5CBE4F-CE25-4A7F-AEC0-1802C244B00B}">
      <dgm:prSet/>
      <dgm:spPr/>
      <dgm:t>
        <a:bodyPr/>
        <a:lstStyle/>
        <a:p>
          <a:endParaRPr lang="en-US"/>
        </a:p>
      </dgm:t>
    </dgm:pt>
    <dgm:pt modelId="{4D5DA4AD-4D39-4C1F-A2E1-44C1112DA0B3}">
      <dgm:prSet custT="1"/>
      <dgm:spPr/>
      <dgm:t>
        <a:bodyPr/>
        <a:lstStyle/>
        <a:p>
          <a:r>
            <a:rPr lang="en-US" sz="2800" baseline="0"/>
            <a:t>Queries the shell database on Control node</a:t>
          </a:r>
          <a:endParaRPr lang="en-US" sz="2800"/>
        </a:p>
      </dgm:t>
    </dgm:pt>
    <dgm:pt modelId="{8321653D-5A57-466F-8E4E-4DF069DF034E}" type="parTrans" cxnId="{E94470AE-A7D6-4369-A6C5-B486D76367F1}">
      <dgm:prSet/>
      <dgm:spPr/>
      <dgm:t>
        <a:bodyPr/>
        <a:lstStyle/>
        <a:p>
          <a:endParaRPr lang="en-US"/>
        </a:p>
      </dgm:t>
    </dgm:pt>
    <dgm:pt modelId="{BF6766B4-E08C-4B15-9C92-9711A1819BDD}" type="sibTrans" cxnId="{E94470AE-A7D6-4369-A6C5-B486D76367F1}">
      <dgm:prSet/>
      <dgm:spPr/>
      <dgm:t>
        <a:bodyPr/>
        <a:lstStyle/>
        <a:p>
          <a:endParaRPr lang="en-US"/>
        </a:p>
      </dgm:t>
    </dgm:pt>
    <dgm:pt modelId="{FFD46B62-A5B8-4D44-A955-299F5FFF15AB}">
      <dgm:prSet custT="1"/>
      <dgm:spPr/>
      <dgm:t>
        <a:bodyPr/>
        <a:lstStyle/>
        <a:p>
          <a:r>
            <a:rPr lang="en-US" sz="2800" baseline="0"/>
            <a:t>Estimate the cardinality of rows for the query </a:t>
          </a:r>
        </a:p>
      </dgm:t>
    </dgm:pt>
    <dgm:pt modelId="{45606098-410B-4E52-9CAE-D0702DC3A8B6}" type="parTrans" cxnId="{D9713E7F-B368-45D1-B31B-C31A38D3BBCD}">
      <dgm:prSet/>
      <dgm:spPr/>
      <dgm:t>
        <a:bodyPr/>
        <a:lstStyle/>
        <a:p>
          <a:endParaRPr lang="en-US"/>
        </a:p>
      </dgm:t>
    </dgm:pt>
    <dgm:pt modelId="{C093C4E0-631C-42C4-953E-02BF88A090C4}" type="sibTrans" cxnId="{D9713E7F-B368-45D1-B31B-C31A38D3BBCD}">
      <dgm:prSet/>
      <dgm:spPr/>
      <dgm:t>
        <a:bodyPr/>
        <a:lstStyle/>
        <a:p>
          <a:endParaRPr lang="en-US"/>
        </a:p>
      </dgm:t>
    </dgm:pt>
    <dgm:pt modelId="{82E4ADE1-06AF-4875-880C-687E37B02277}">
      <dgm:prSet custT="1"/>
      <dgm:spPr/>
      <dgm:t>
        <a:bodyPr/>
        <a:lstStyle/>
        <a:p>
          <a:r>
            <a:rPr lang="en-US" sz="2800" baseline="0"/>
            <a:t>Generate efficient D-SQL plans</a:t>
          </a:r>
        </a:p>
      </dgm:t>
    </dgm:pt>
    <dgm:pt modelId="{4EE2ADAF-0FD5-4752-9FD0-CFCE26DB6273}" type="parTrans" cxnId="{4EDE0F99-90E7-4B4E-969E-CFFAD39ED805}">
      <dgm:prSet/>
      <dgm:spPr/>
      <dgm:t>
        <a:bodyPr/>
        <a:lstStyle/>
        <a:p>
          <a:endParaRPr lang="en-US"/>
        </a:p>
      </dgm:t>
    </dgm:pt>
    <dgm:pt modelId="{A69D1F65-9421-4C35-8103-5EF0A56A2111}" type="sibTrans" cxnId="{4EDE0F99-90E7-4B4E-969E-CFFAD39ED805}">
      <dgm:prSet/>
      <dgm:spPr/>
      <dgm:t>
        <a:bodyPr/>
        <a:lstStyle/>
        <a:p>
          <a:endParaRPr lang="en-US"/>
        </a:p>
      </dgm:t>
    </dgm:pt>
    <dgm:pt modelId="{AFF46908-483C-4FAA-9F12-A71C2320375C}">
      <dgm:prSet custT="1"/>
      <dgm:spPr/>
      <dgm:t>
        <a:bodyPr/>
        <a:lstStyle/>
        <a:p>
          <a:r>
            <a:rPr lang="en-US" sz="2800" baseline="0"/>
            <a:t>Minimise Data Movement</a:t>
          </a:r>
        </a:p>
      </dgm:t>
    </dgm:pt>
    <dgm:pt modelId="{19953584-E599-4A2A-BDE8-6B169A6EFF72}" type="parTrans" cxnId="{E15B7746-30F5-4F03-8B25-026B6D22082B}">
      <dgm:prSet/>
      <dgm:spPr/>
      <dgm:t>
        <a:bodyPr/>
        <a:lstStyle/>
        <a:p>
          <a:endParaRPr lang="en-US"/>
        </a:p>
      </dgm:t>
    </dgm:pt>
    <dgm:pt modelId="{7F47D65E-2711-48ED-BA6B-D2BD4E6C1150}" type="sibTrans" cxnId="{E15B7746-30F5-4F03-8B25-026B6D22082B}">
      <dgm:prSet/>
      <dgm:spPr/>
      <dgm:t>
        <a:bodyPr/>
        <a:lstStyle/>
        <a:p>
          <a:endParaRPr lang="en-US"/>
        </a:p>
      </dgm:t>
    </dgm:pt>
    <dgm:pt modelId="{57CF3448-043A-45C5-9FF4-D51EC651A110}">
      <dgm:prSet custT="1"/>
      <dgm:spPr/>
      <dgm:t>
        <a:bodyPr/>
        <a:lstStyle/>
        <a:p>
          <a:endParaRPr lang="en-US" sz="2800" baseline="0"/>
        </a:p>
      </dgm:t>
    </dgm:pt>
    <dgm:pt modelId="{1AB6FB7A-9D45-4C86-841F-8C3EA22A537C}" type="parTrans" cxnId="{78844666-B798-4802-BB1A-36A17B0832D5}">
      <dgm:prSet/>
      <dgm:spPr/>
      <dgm:t>
        <a:bodyPr/>
        <a:lstStyle/>
        <a:p>
          <a:endParaRPr lang="en-US"/>
        </a:p>
      </dgm:t>
    </dgm:pt>
    <dgm:pt modelId="{30FAE2CD-42DD-4A8A-935B-5F00BA84E8BA}" type="sibTrans" cxnId="{78844666-B798-4802-BB1A-36A17B0832D5}">
      <dgm:prSet/>
      <dgm:spPr/>
      <dgm:t>
        <a:bodyPr/>
        <a:lstStyle/>
        <a:p>
          <a:endParaRPr lang="en-US"/>
        </a:p>
      </dgm:t>
    </dgm:pt>
    <dgm:pt modelId="{CEEB9584-C010-4D5D-8D21-CA2349CBFB99}" type="pres">
      <dgm:prSet presAssocID="{B30D0C97-F852-4426-AB6D-F331B4B23785}" presName="linear" presStyleCnt="0">
        <dgm:presLayoutVars>
          <dgm:animLvl val="lvl"/>
          <dgm:resizeHandles val="exact"/>
        </dgm:presLayoutVars>
      </dgm:prSet>
      <dgm:spPr/>
    </dgm:pt>
    <dgm:pt modelId="{A83D7760-B3A9-4E04-8CAC-DFE67F3228E6}" type="pres">
      <dgm:prSet presAssocID="{7411181C-4958-4B31-B9CB-767E225A2B1F}" presName="parentText" presStyleLbl="node1" presStyleIdx="0" presStyleCnt="1" custScaleY="74244">
        <dgm:presLayoutVars>
          <dgm:chMax val="0"/>
          <dgm:bulletEnabled val="1"/>
        </dgm:presLayoutVars>
      </dgm:prSet>
      <dgm:spPr/>
    </dgm:pt>
    <dgm:pt modelId="{1722EBB0-5A8D-4E93-9BC4-E63A32A04924}" type="pres">
      <dgm:prSet presAssocID="{7411181C-4958-4B31-B9CB-767E225A2B1F}" presName="childText" presStyleLbl="revTx" presStyleIdx="0" presStyleCnt="1">
        <dgm:presLayoutVars>
          <dgm:bulletEnabled val="1"/>
        </dgm:presLayoutVars>
      </dgm:prSet>
      <dgm:spPr/>
    </dgm:pt>
  </dgm:ptLst>
  <dgm:cxnLst>
    <dgm:cxn modelId="{C825F608-D873-45EB-A374-7DC87B8FDED6}" type="presOf" srcId="{AFF46908-483C-4FAA-9F12-A71C2320375C}" destId="{1722EBB0-5A8D-4E93-9BC4-E63A32A04924}" srcOrd="0" destOrd="3" presId="urn:microsoft.com/office/officeart/2005/8/layout/vList2"/>
    <dgm:cxn modelId="{EE663E34-F46E-45CB-8253-1F64015A1081}" type="presOf" srcId="{57CF3448-043A-45C5-9FF4-D51EC651A110}" destId="{1722EBB0-5A8D-4E93-9BC4-E63A32A04924}" srcOrd="0" destOrd="4" presId="urn:microsoft.com/office/officeart/2005/8/layout/vList2"/>
    <dgm:cxn modelId="{28CD1D5C-62FF-4C13-9D2D-51E7ADB2110C}" type="presOf" srcId="{7411181C-4958-4B31-B9CB-767E225A2B1F}" destId="{A83D7760-B3A9-4E04-8CAC-DFE67F3228E6}" srcOrd="0" destOrd="0" presId="urn:microsoft.com/office/officeart/2005/8/layout/vList2"/>
    <dgm:cxn modelId="{78844666-B798-4802-BB1A-36A17B0832D5}" srcId="{7411181C-4958-4B31-B9CB-767E225A2B1F}" destId="{57CF3448-043A-45C5-9FF4-D51EC651A110}" srcOrd="4" destOrd="0" parTransId="{1AB6FB7A-9D45-4C86-841F-8C3EA22A537C}" sibTransId="{30FAE2CD-42DD-4A8A-935B-5F00BA84E8BA}"/>
    <dgm:cxn modelId="{E15B7746-30F5-4F03-8B25-026B6D22082B}" srcId="{7411181C-4958-4B31-B9CB-767E225A2B1F}" destId="{AFF46908-483C-4FAA-9F12-A71C2320375C}" srcOrd="3" destOrd="0" parTransId="{19953584-E599-4A2A-BDE8-6B169A6EFF72}" sibTransId="{7F47D65E-2711-48ED-BA6B-D2BD4E6C1150}"/>
    <dgm:cxn modelId="{7C5CBE4F-CE25-4A7F-AEC0-1802C244B00B}" srcId="{B30D0C97-F852-4426-AB6D-F331B4B23785}" destId="{7411181C-4958-4B31-B9CB-767E225A2B1F}" srcOrd="0" destOrd="0" parTransId="{C9F7D66A-7028-4CC8-8C89-E72BE86A7145}" sibTransId="{A8A19844-8BBF-467C-8DA8-81BB07AAC78B}"/>
    <dgm:cxn modelId="{F5BCC77D-29C1-425E-8665-598956C64884}" type="presOf" srcId="{82E4ADE1-06AF-4875-880C-687E37B02277}" destId="{1722EBB0-5A8D-4E93-9BC4-E63A32A04924}" srcOrd="0" destOrd="2" presId="urn:microsoft.com/office/officeart/2005/8/layout/vList2"/>
    <dgm:cxn modelId="{0640577E-809F-420A-B5B3-476ECBF08389}" type="presOf" srcId="{FFD46B62-A5B8-4D44-A955-299F5FFF15AB}" destId="{1722EBB0-5A8D-4E93-9BC4-E63A32A04924}" srcOrd="0" destOrd="1" presId="urn:microsoft.com/office/officeart/2005/8/layout/vList2"/>
    <dgm:cxn modelId="{D9713E7F-B368-45D1-B31B-C31A38D3BBCD}" srcId="{7411181C-4958-4B31-B9CB-767E225A2B1F}" destId="{FFD46B62-A5B8-4D44-A955-299F5FFF15AB}" srcOrd="1" destOrd="0" parTransId="{45606098-410B-4E52-9CAE-D0702DC3A8B6}" sibTransId="{C093C4E0-631C-42C4-953E-02BF88A090C4}"/>
    <dgm:cxn modelId="{6C6C1189-EB52-4DFE-B797-F64388837AF9}" type="presOf" srcId="{4D5DA4AD-4D39-4C1F-A2E1-44C1112DA0B3}" destId="{1722EBB0-5A8D-4E93-9BC4-E63A32A04924}" srcOrd="0" destOrd="0" presId="urn:microsoft.com/office/officeart/2005/8/layout/vList2"/>
    <dgm:cxn modelId="{4EDE0F99-90E7-4B4E-969E-CFFAD39ED805}" srcId="{7411181C-4958-4B31-B9CB-767E225A2B1F}" destId="{82E4ADE1-06AF-4875-880C-687E37B02277}" srcOrd="2" destOrd="0" parTransId="{4EE2ADAF-0FD5-4752-9FD0-CFCE26DB6273}" sibTransId="{A69D1F65-9421-4C35-8103-5EF0A56A2111}"/>
    <dgm:cxn modelId="{E94470AE-A7D6-4369-A6C5-B486D76367F1}" srcId="{7411181C-4958-4B31-B9CB-767E225A2B1F}" destId="{4D5DA4AD-4D39-4C1F-A2E1-44C1112DA0B3}" srcOrd="0" destOrd="0" parTransId="{8321653D-5A57-466F-8E4E-4DF069DF034E}" sibTransId="{BF6766B4-E08C-4B15-9C92-9711A1819BDD}"/>
    <dgm:cxn modelId="{FD2CAADD-685E-4D3A-956E-873D20509C67}" type="presOf" srcId="{B30D0C97-F852-4426-AB6D-F331B4B23785}" destId="{CEEB9584-C010-4D5D-8D21-CA2349CBFB99}" srcOrd="0" destOrd="0" presId="urn:microsoft.com/office/officeart/2005/8/layout/vList2"/>
    <dgm:cxn modelId="{B7CEA671-D8C9-4FAD-A295-63DBC3F4061D}" type="presParOf" srcId="{CEEB9584-C010-4D5D-8D21-CA2349CBFB99}" destId="{A83D7760-B3A9-4E04-8CAC-DFE67F3228E6}" srcOrd="0" destOrd="0" presId="urn:microsoft.com/office/officeart/2005/8/layout/vList2"/>
    <dgm:cxn modelId="{19F49078-EE19-4E6F-B3A7-FC640C4ED783}" type="presParOf" srcId="{CEEB9584-C010-4D5D-8D21-CA2349CBFB99}" destId="{1722EBB0-5A8D-4E93-9BC4-E63A32A04924}"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0D0C97-F852-4426-AB6D-F331B4B23785}"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7411181C-4958-4B31-B9CB-767E225A2B1F}">
      <dgm:prSet custT="1"/>
      <dgm:spPr/>
      <dgm:t>
        <a:bodyPr/>
        <a:lstStyle/>
        <a:p>
          <a:r>
            <a:rPr lang="en-GB" sz="3600" baseline="0"/>
            <a:t>Distributions / Compute Nodes</a:t>
          </a:r>
          <a:endParaRPr lang="en-US" sz="4200"/>
        </a:p>
      </dgm:t>
    </dgm:pt>
    <dgm:pt modelId="{C9F7D66A-7028-4CC8-8C89-E72BE86A7145}" type="parTrans" cxnId="{7C5CBE4F-CE25-4A7F-AEC0-1802C244B00B}">
      <dgm:prSet/>
      <dgm:spPr/>
      <dgm:t>
        <a:bodyPr/>
        <a:lstStyle/>
        <a:p>
          <a:endParaRPr lang="en-US"/>
        </a:p>
      </dgm:t>
    </dgm:pt>
    <dgm:pt modelId="{A8A19844-8BBF-467C-8DA8-81BB07AAC78B}" type="sibTrans" cxnId="{7C5CBE4F-CE25-4A7F-AEC0-1802C244B00B}">
      <dgm:prSet/>
      <dgm:spPr/>
      <dgm:t>
        <a:bodyPr/>
        <a:lstStyle/>
        <a:p>
          <a:endParaRPr lang="en-US"/>
        </a:p>
      </dgm:t>
    </dgm:pt>
    <dgm:pt modelId="{4D5DA4AD-4D39-4C1F-A2E1-44C1112DA0B3}">
      <dgm:prSet custT="1"/>
      <dgm:spPr/>
      <dgm:t>
        <a:bodyPr/>
        <a:lstStyle/>
        <a:p>
          <a:r>
            <a:rPr lang="en-US" sz="2800" baseline="0"/>
            <a:t>Estimate the cardinality of rows for the sub-query </a:t>
          </a:r>
          <a:endParaRPr lang="en-US" sz="2800"/>
        </a:p>
      </dgm:t>
    </dgm:pt>
    <dgm:pt modelId="{8321653D-5A57-466F-8E4E-4DF069DF034E}" type="parTrans" cxnId="{E94470AE-A7D6-4369-A6C5-B486D76367F1}">
      <dgm:prSet/>
      <dgm:spPr/>
      <dgm:t>
        <a:bodyPr/>
        <a:lstStyle/>
        <a:p>
          <a:endParaRPr lang="en-US"/>
        </a:p>
      </dgm:t>
    </dgm:pt>
    <dgm:pt modelId="{BF6766B4-E08C-4B15-9C92-9711A1819BDD}" type="sibTrans" cxnId="{E94470AE-A7D6-4369-A6C5-B486D76367F1}">
      <dgm:prSet/>
      <dgm:spPr/>
      <dgm:t>
        <a:bodyPr/>
        <a:lstStyle/>
        <a:p>
          <a:endParaRPr lang="en-US"/>
        </a:p>
      </dgm:t>
    </dgm:pt>
    <dgm:pt modelId="{4D41C95C-2000-4E82-BBD0-868B1909FE2C}">
      <dgm:prSet custT="1"/>
      <dgm:spPr/>
      <dgm:t>
        <a:bodyPr/>
        <a:lstStyle/>
        <a:p>
          <a:r>
            <a:rPr lang="en-US" sz="2800" baseline="0"/>
            <a:t>Generate efficient SMP plans</a:t>
          </a:r>
        </a:p>
      </dgm:t>
    </dgm:pt>
    <dgm:pt modelId="{B4BD4C91-FE9D-4505-BB98-7FF7C10209B4}" type="parTrans" cxnId="{99EA8D81-E913-4E90-90CA-DA21783723EB}">
      <dgm:prSet/>
      <dgm:spPr/>
      <dgm:t>
        <a:bodyPr/>
        <a:lstStyle/>
        <a:p>
          <a:endParaRPr lang="en-US"/>
        </a:p>
      </dgm:t>
    </dgm:pt>
    <dgm:pt modelId="{41FE090C-3EBD-4E56-A756-7591D446F0EE}" type="sibTrans" cxnId="{99EA8D81-E913-4E90-90CA-DA21783723EB}">
      <dgm:prSet/>
      <dgm:spPr/>
      <dgm:t>
        <a:bodyPr/>
        <a:lstStyle/>
        <a:p>
          <a:endParaRPr lang="en-US"/>
        </a:p>
      </dgm:t>
    </dgm:pt>
    <dgm:pt modelId="{19E5581D-9F56-4852-B314-9585C61F53A4}">
      <dgm:prSet custT="1"/>
      <dgm:spPr/>
      <dgm:t>
        <a:bodyPr/>
        <a:lstStyle/>
        <a:p>
          <a:r>
            <a:rPr lang="en-US" sz="2800" baseline="0"/>
            <a:t>Usage is the same as any SQL DB query execution</a:t>
          </a:r>
        </a:p>
      </dgm:t>
    </dgm:pt>
    <dgm:pt modelId="{9B623293-68A0-42A1-B530-49D4124BC8E9}" type="parTrans" cxnId="{1B7A16F4-CFAE-47D0-BCCD-E0B81ED6E85D}">
      <dgm:prSet/>
      <dgm:spPr/>
      <dgm:t>
        <a:bodyPr/>
        <a:lstStyle/>
        <a:p>
          <a:endParaRPr lang="en-US"/>
        </a:p>
      </dgm:t>
    </dgm:pt>
    <dgm:pt modelId="{4D6DF8F5-BDAD-4421-A39E-7A0A7F7DD111}" type="sibTrans" cxnId="{1B7A16F4-CFAE-47D0-BCCD-E0B81ED6E85D}">
      <dgm:prSet/>
      <dgm:spPr/>
      <dgm:t>
        <a:bodyPr/>
        <a:lstStyle/>
        <a:p>
          <a:endParaRPr lang="en-US"/>
        </a:p>
      </dgm:t>
    </dgm:pt>
    <dgm:pt modelId="{CEEB9584-C010-4D5D-8D21-CA2349CBFB99}" type="pres">
      <dgm:prSet presAssocID="{B30D0C97-F852-4426-AB6D-F331B4B23785}" presName="linear" presStyleCnt="0">
        <dgm:presLayoutVars>
          <dgm:animLvl val="lvl"/>
          <dgm:resizeHandles val="exact"/>
        </dgm:presLayoutVars>
      </dgm:prSet>
      <dgm:spPr/>
    </dgm:pt>
    <dgm:pt modelId="{A83D7760-B3A9-4E04-8CAC-DFE67F3228E6}" type="pres">
      <dgm:prSet presAssocID="{7411181C-4958-4B31-B9CB-767E225A2B1F}" presName="parentText" presStyleLbl="node1" presStyleIdx="0" presStyleCnt="1" custScaleY="74244">
        <dgm:presLayoutVars>
          <dgm:chMax val="0"/>
          <dgm:bulletEnabled val="1"/>
        </dgm:presLayoutVars>
      </dgm:prSet>
      <dgm:spPr/>
    </dgm:pt>
    <dgm:pt modelId="{1722EBB0-5A8D-4E93-9BC4-E63A32A04924}" type="pres">
      <dgm:prSet presAssocID="{7411181C-4958-4B31-B9CB-767E225A2B1F}" presName="childText" presStyleLbl="revTx" presStyleIdx="0" presStyleCnt="1">
        <dgm:presLayoutVars>
          <dgm:bulletEnabled val="1"/>
        </dgm:presLayoutVars>
      </dgm:prSet>
      <dgm:spPr/>
    </dgm:pt>
  </dgm:ptLst>
  <dgm:cxnLst>
    <dgm:cxn modelId="{28CD1D5C-62FF-4C13-9D2D-51E7ADB2110C}" type="presOf" srcId="{7411181C-4958-4B31-B9CB-767E225A2B1F}" destId="{A83D7760-B3A9-4E04-8CAC-DFE67F3228E6}" srcOrd="0" destOrd="0" presId="urn:microsoft.com/office/officeart/2005/8/layout/vList2"/>
    <dgm:cxn modelId="{3900854B-C6BB-4E18-89DA-F9FCA63E84B8}" type="presOf" srcId="{4D41C95C-2000-4E82-BBD0-868B1909FE2C}" destId="{1722EBB0-5A8D-4E93-9BC4-E63A32A04924}" srcOrd="0" destOrd="1" presId="urn:microsoft.com/office/officeart/2005/8/layout/vList2"/>
    <dgm:cxn modelId="{7C5CBE4F-CE25-4A7F-AEC0-1802C244B00B}" srcId="{B30D0C97-F852-4426-AB6D-F331B4B23785}" destId="{7411181C-4958-4B31-B9CB-767E225A2B1F}" srcOrd="0" destOrd="0" parTransId="{C9F7D66A-7028-4CC8-8C89-E72BE86A7145}" sibTransId="{A8A19844-8BBF-467C-8DA8-81BB07AAC78B}"/>
    <dgm:cxn modelId="{0F9B5F73-C1C3-4649-B313-6E1A34BECED9}" type="presOf" srcId="{19E5581D-9F56-4852-B314-9585C61F53A4}" destId="{1722EBB0-5A8D-4E93-9BC4-E63A32A04924}" srcOrd="0" destOrd="2" presId="urn:microsoft.com/office/officeart/2005/8/layout/vList2"/>
    <dgm:cxn modelId="{99EA8D81-E913-4E90-90CA-DA21783723EB}" srcId="{7411181C-4958-4B31-B9CB-767E225A2B1F}" destId="{4D41C95C-2000-4E82-BBD0-868B1909FE2C}" srcOrd="1" destOrd="0" parTransId="{B4BD4C91-FE9D-4505-BB98-7FF7C10209B4}" sibTransId="{41FE090C-3EBD-4E56-A756-7591D446F0EE}"/>
    <dgm:cxn modelId="{6C6C1189-EB52-4DFE-B797-F64388837AF9}" type="presOf" srcId="{4D5DA4AD-4D39-4C1F-A2E1-44C1112DA0B3}" destId="{1722EBB0-5A8D-4E93-9BC4-E63A32A04924}" srcOrd="0" destOrd="0" presId="urn:microsoft.com/office/officeart/2005/8/layout/vList2"/>
    <dgm:cxn modelId="{E94470AE-A7D6-4369-A6C5-B486D76367F1}" srcId="{7411181C-4958-4B31-B9CB-767E225A2B1F}" destId="{4D5DA4AD-4D39-4C1F-A2E1-44C1112DA0B3}" srcOrd="0" destOrd="0" parTransId="{8321653D-5A57-466F-8E4E-4DF069DF034E}" sibTransId="{BF6766B4-E08C-4B15-9C92-9711A1819BDD}"/>
    <dgm:cxn modelId="{FD2CAADD-685E-4D3A-956E-873D20509C67}" type="presOf" srcId="{B30D0C97-F852-4426-AB6D-F331B4B23785}" destId="{CEEB9584-C010-4D5D-8D21-CA2349CBFB99}" srcOrd="0" destOrd="0" presId="urn:microsoft.com/office/officeart/2005/8/layout/vList2"/>
    <dgm:cxn modelId="{1B7A16F4-CFAE-47D0-BCCD-E0B81ED6E85D}" srcId="{7411181C-4958-4B31-B9CB-767E225A2B1F}" destId="{19E5581D-9F56-4852-B314-9585C61F53A4}" srcOrd="2" destOrd="0" parTransId="{9B623293-68A0-42A1-B530-49D4124BC8E9}" sibTransId="{4D6DF8F5-BDAD-4421-A39E-7A0A7F7DD111}"/>
    <dgm:cxn modelId="{B7CEA671-D8C9-4FAD-A295-63DBC3F4061D}" type="presParOf" srcId="{CEEB9584-C010-4D5D-8D21-CA2349CBFB99}" destId="{A83D7760-B3A9-4E04-8CAC-DFE67F3228E6}" srcOrd="0" destOrd="0" presId="urn:microsoft.com/office/officeart/2005/8/layout/vList2"/>
    <dgm:cxn modelId="{19F49078-EE19-4E6F-B3A7-FC640C4ED783}" type="presParOf" srcId="{CEEB9584-C010-4D5D-8D21-CA2349CBFB99}" destId="{1722EBB0-5A8D-4E93-9BC4-E63A32A04924}"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12E3612-1918-447E-8729-8AB469ACE360}" type="doc">
      <dgm:prSet loTypeId="urn:microsoft.com/office/officeart/2005/8/layout/vList2" loCatId="list" qsTypeId="urn:microsoft.com/office/officeart/2005/8/quickstyle/3d1" qsCatId="3D" csTypeId="urn:microsoft.com/office/officeart/2005/8/colors/accent0_3" csCatId="mainScheme"/>
      <dgm:spPr/>
      <dgm:t>
        <a:bodyPr/>
        <a:lstStyle/>
        <a:p>
          <a:endParaRPr lang="en-US"/>
        </a:p>
      </dgm:t>
    </dgm:pt>
    <dgm:pt modelId="{21A2F21C-1350-4F0F-83F4-564D6DB5A9A5}">
      <dgm:prSet/>
      <dgm:spPr/>
      <dgm:t>
        <a:bodyPr/>
        <a:lstStyle/>
        <a:p>
          <a:r>
            <a:rPr lang="en-US" baseline="0"/>
            <a:t>DW - Distributed Plan Choices</a:t>
          </a:r>
          <a:endParaRPr lang="en-US"/>
        </a:p>
      </dgm:t>
    </dgm:pt>
    <dgm:pt modelId="{74742B8B-8A4F-4D72-A087-E791FF8FAA75}" type="parTrans" cxnId="{3E8F0D32-B7CB-4B89-A285-F55AD8623B5B}">
      <dgm:prSet/>
      <dgm:spPr/>
      <dgm:t>
        <a:bodyPr/>
        <a:lstStyle/>
        <a:p>
          <a:endParaRPr lang="en-US"/>
        </a:p>
      </dgm:t>
    </dgm:pt>
    <dgm:pt modelId="{424E4EF4-7B39-44D5-B634-E99ED5AE5109}" type="sibTrans" cxnId="{3E8F0D32-B7CB-4B89-A285-F55AD8623B5B}">
      <dgm:prSet/>
      <dgm:spPr/>
      <dgm:t>
        <a:bodyPr/>
        <a:lstStyle/>
        <a:p>
          <a:endParaRPr lang="en-US"/>
        </a:p>
      </dgm:t>
    </dgm:pt>
    <dgm:pt modelId="{F8A1402F-47DC-463C-8392-ED033404733D}">
      <dgm:prSet/>
      <dgm:spPr/>
      <dgm:t>
        <a:bodyPr/>
        <a:lstStyle/>
        <a:p>
          <a:r>
            <a:rPr lang="en-US" baseline="0"/>
            <a:t>Data Movement: Broadcast, Shuffle, or Partition (etc)?</a:t>
          </a:r>
          <a:endParaRPr lang="en-US"/>
        </a:p>
      </dgm:t>
    </dgm:pt>
    <dgm:pt modelId="{B650146C-62BD-46BF-B742-245D9A6EAF2E}" type="parTrans" cxnId="{D1A0FE3B-952F-47BC-9179-7A213C484814}">
      <dgm:prSet/>
      <dgm:spPr/>
      <dgm:t>
        <a:bodyPr/>
        <a:lstStyle/>
        <a:p>
          <a:endParaRPr lang="en-US"/>
        </a:p>
      </dgm:t>
    </dgm:pt>
    <dgm:pt modelId="{01BF6078-E093-45B1-AA85-B6E4443B52BD}" type="sibTrans" cxnId="{D1A0FE3B-952F-47BC-9179-7A213C484814}">
      <dgm:prSet/>
      <dgm:spPr/>
      <dgm:t>
        <a:bodyPr/>
        <a:lstStyle/>
        <a:p>
          <a:endParaRPr lang="en-US"/>
        </a:p>
      </dgm:t>
    </dgm:pt>
    <dgm:pt modelId="{DFAA75B9-3B40-4748-91B6-54FAAD0C7E0B}">
      <dgm:prSet/>
      <dgm:spPr/>
      <dgm:t>
        <a:bodyPr/>
        <a:lstStyle/>
        <a:p>
          <a:r>
            <a:rPr lang="en-US" baseline="0"/>
            <a:t>Distribution - SQL Plan Choices</a:t>
          </a:r>
          <a:endParaRPr lang="en-US"/>
        </a:p>
      </dgm:t>
    </dgm:pt>
    <dgm:pt modelId="{C7D7C45E-C119-4906-BB7E-77B23C7E3B6F}" type="parTrans" cxnId="{FAF7CAB5-8ED1-4A07-B014-1F9753C9168B}">
      <dgm:prSet/>
      <dgm:spPr/>
      <dgm:t>
        <a:bodyPr/>
        <a:lstStyle/>
        <a:p>
          <a:endParaRPr lang="en-US"/>
        </a:p>
      </dgm:t>
    </dgm:pt>
    <dgm:pt modelId="{CD3DEEA3-81CC-4FC5-A251-C9678885D469}" type="sibTrans" cxnId="{FAF7CAB5-8ED1-4A07-B014-1F9753C9168B}">
      <dgm:prSet/>
      <dgm:spPr/>
      <dgm:t>
        <a:bodyPr/>
        <a:lstStyle/>
        <a:p>
          <a:endParaRPr lang="en-US"/>
        </a:p>
      </dgm:t>
    </dgm:pt>
    <dgm:pt modelId="{6AC20ECC-6D26-4F3E-B5AE-FB56354C4F7D}">
      <dgm:prSet/>
      <dgm:spPr/>
      <dgm:t>
        <a:bodyPr/>
        <a:lstStyle/>
        <a:p>
          <a:r>
            <a:rPr lang="en-US" baseline="0"/>
            <a:t>Table operators: Index Seek or Scan?</a:t>
          </a:r>
          <a:endParaRPr lang="en-US"/>
        </a:p>
      </dgm:t>
    </dgm:pt>
    <dgm:pt modelId="{217B3887-2CA6-46A7-B7FE-8ED7B1614161}" type="parTrans" cxnId="{67F4EB1A-E451-4090-AD96-DDC0DD2D9041}">
      <dgm:prSet/>
      <dgm:spPr/>
      <dgm:t>
        <a:bodyPr/>
        <a:lstStyle/>
        <a:p>
          <a:endParaRPr lang="en-US"/>
        </a:p>
      </dgm:t>
    </dgm:pt>
    <dgm:pt modelId="{542BA064-B6FE-418F-B6A6-3129A297A49D}" type="sibTrans" cxnId="{67F4EB1A-E451-4090-AD96-DDC0DD2D9041}">
      <dgm:prSet/>
      <dgm:spPr/>
      <dgm:t>
        <a:bodyPr/>
        <a:lstStyle/>
        <a:p>
          <a:endParaRPr lang="en-US"/>
        </a:p>
      </dgm:t>
    </dgm:pt>
    <dgm:pt modelId="{C3957EE0-CBD1-4E81-B16D-876492098677}">
      <dgm:prSet/>
      <dgm:spPr/>
      <dgm:t>
        <a:bodyPr/>
        <a:lstStyle/>
        <a:p>
          <a:r>
            <a:rPr lang="en-US" baseline="0"/>
            <a:t>JOIN operators: Hash, Merge, or Nested Loop?</a:t>
          </a:r>
          <a:endParaRPr lang="en-US"/>
        </a:p>
      </dgm:t>
    </dgm:pt>
    <dgm:pt modelId="{054E75E9-001C-496D-947C-039A28E49DA7}" type="parTrans" cxnId="{22FD61BD-E284-474B-9ACA-4BAFF236FCA6}">
      <dgm:prSet/>
      <dgm:spPr/>
      <dgm:t>
        <a:bodyPr/>
        <a:lstStyle/>
        <a:p>
          <a:endParaRPr lang="en-US"/>
        </a:p>
      </dgm:t>
    </dgm:pt>
    <dgm:pt modelId="{E1C8D6B9-FA8E-4B0E-A519-11720CEAE924}" type="sibTrans" cxnId="{22FD61BD-E284-474B-9ACA-4BAFF236FCA6}">
      <dgm:prSet/>
      <dgm:spPr/>
      <dgm:t>
        <a:bodyPr/>
        <a:lstStyle/>
        <a:p>
          <a:endParaRPr lang="en-US"/>
        </a:p>
      </dgm:t>
    </dgm:pt>
    <dgm:pt modelId="{0D3AA780-A5C9-4F26-962F-AEE207D1AA11}">
      <dgm:prSet/>
      <dgm:spPr/>
      <dgm:t>
        <a:bodyPr/>
        <a:lstStyle/>
        <a:p>
          <a:r>
            <a:rPr lang="en-US" baseline="0"/>
            <a:t>Parallel or Serial?</a:t>
          </a:r>
          <a:endParaRPr lang="en-US"/>
        </a:p>
      </dgm:t>
    </dgm:pt>
    <dgm:pt modelId="{D7526A0B-B723-46E9-BAD0-5CDC8C7B2F9B}" type="parTrans" cxnId="{6A1F2873-A77A-42B3-8785-5AAB81590E0D}">
      <dgm:prSet/>
      <dgm:spPr/>
      <dgm:t>
        <a:bodyPr/>
        <a:lstStyle/>
        <a:p>
          <a:endParaRPr lang="en-US"/>
        </a:p>
      </dgm:t>
    </dgm:pt>
    <dgm:pt modelId="{D003072B-3FE2-4525-BE47-6E473C7C1783}" type="sibTrans" cxnId="{6A1F2873-A77A-42B3-8785-5AAB81590E0D}">
      <dgm:prSet/>
      <dgm:spPr/>
      <dgm:t>
        <a:bodyPr/>
        <a:lstStyle/>
        <a:p>
          <a:endParaRPr lang="en-US"/>
        </a:p>
      </dgm:t>
    </dgm:pt>
    <dgm:pt modelId="{8B454EF0-4C89-45BC-82E5-BF06F1CF2FB0}" type="pres">
      <dgm:prSet presAssocID="{D12E3612-1918-447E-8729-8AB469ACE360}" presName="linear" presStyleCnt="0">
        <dgm:presLayoutVars>
          <dgm:animLvl val="lvl"/>
          <dgm:resizeHandles val="exact"/>
        </dgm:presLayoutVars>
      </dgm:prSet>
      <dgm:spPr/>
    </dgm:pt>
    <dgm:pt modelId="{93210438-9193-4CBA-9606-8DC35B9A6F80}" type="pres">
      <dgm:prSet presAssocID="{21A2F21C-1350-4F0F-83F4-564D6DB5A9A5}" presName="parentText" presStyleLbl="node1" presStyleIdx="0" presStyleCnt="2">
        <dgm:presLayoutVars>
          <dgm:chMax val="0"/>
          <dgm:bulletEnabled val="1"/>
        </dgm:presLayoutVars>
      </dgm:prSet>
      <dgm:spPr/>
    </dgm:pt>
    <dgm:pt modelId="{25E4AA0F-FC20-48DE-8892-CA41425D2014}" type="pres">
      <dgm:prSet presAssocID="{21A2F21C-1350-4F0F-83F4-564D6DB5A9A5}" presName="childText" presStyleLbl="revTx" presStyleIdx="0" presStyleCnt="2">
        <dgm:presLayoutVars>
          <dgm:bulletEnabled val="1"/>
        </dgm:presLayoutVars>
      </dgm:prSet>
      <dgm:spPr/>
    </dgm:pt>
    <dgm:pt modelId="{67507C4C-D07D-499D-9336-92641C927017}" type="pres">
      <dgm:prSet presAssocID="{DFAA75B9-3B40-4748-91B6-54FAAD0C7E0B}" presName="parentText" presStyleLbl="node1" presStyleIdx="1" presStyleCnt="2">
        <dgm:presLayoutVars>
          <dgm:chMax val="0"/>
          <dgm:bulletEnabled val="1"/>
        </dgm:presLayoutVars>
      </dgm:prSet>
      <dgm:spPr/>
    </dgm:pt>
    <dgm:pt modelId="{FC839D8A-3E00-4EBA-877E-DC31C47D5850}" type="pres">
      <dgm:prSet presAssocID="{DFAA75B9-3B40-4748-91B6-54FAAD0C7E0B}" presName="childText" presStyleLbl="revTx" presStyleIdx="1" presStyleCnt="2">
        <dgm:presLayoutVars>
          <dgm:bulletEnabled val="1"/>
        </dgm:presLayoutVars>
      </dgm:prSet>
      <dgm:spPr/>
    </dgm:pt>
  </dgm:ptLst>
  <dgm:cxnLst>
    <dgm:cxn modelId="{67F4EB1A-E451-4090-AD96-DDC0DD2D9041}" srcId="{DFAA75B9-3B40-4748-91B6-54FAAD0C7E0B}" destId="{6AC20ECC-6D26-4F3E-B5AE-FB56354C4F7D}" srcOrd="0" destOrd="0" parTransId="{217B3887-2CA6-46A7-B7FE-8ED7B1614161}" sibTransId="{542BA064-B6FE-418F-B6A6-3129A297A49D}"/>
    <dgm:cxn modelId="{3E8F0D32-B7CB-4B89-A285-F55AD8623B5B}" srcId="{D12E3612-1918-447E-8729-8AB469ACE360}" destId="{21A2F21C-1350-4F0F-83F4-564D6DB5A9A5}" srcOrd="0" destOrd="0" parTransId="{74742B8B-8A4F-4D72-A087-E791FF8FAA75}" sibTransId="{424E4EF4-7B39-44D5-B634-E99ED5AE5109}"/>
    <dgm:cxn modelId="{8AA4B234-E4D3-4DA9-86C2-127B56E62ADE}" type="presOf" srcId="{D12E3612-1918-447E-8729-8AB469ACE360}" destId="{8B454EF0-4C89-45BC-82E5-BF06F1CF2FB0}" srcOrd="0" destOrd="0" presId="urn:microsoft.com/office/officeart/2005/8/layout/vList2"/>
    <dgm:cxn modelId="{D1A0FE3B-952F-47BC-9179-7A213C484814}" srcId="{21A2F21C-1350-4F0F-83F4-564D6DB5A9A5}" destId="{F8A1402F-47DC-463C-8392-ED033404733D}" srcOrd="0" destOrd="0" parTransId="{B650146C-62BD-46BF-B742-245D9A6EAF2E}" sibTransId="{01BF6078-E093-45B1-AA85-B6E4443B52BD}"/>
    <dgm:cxn modelId="{3037E863-417E-4128-BFF6-361652C68B6D}" type="presOf" srcId="{DFAA75B9-3B40-4748-91B6-54FAAD0C7E0B}" destId="{67507C4C-D07D-499D-9336-92641C927017}" srcOrd="0" destOrd="0" presId="urn:microsoft.com/office/officeart/2005/8/layout/vList2"/>
    <dgm:cxn modelId="{6A1F2873-A77A-42B3-8785-5AAB81590E0D}" srcId="{DFAA75B9-3B40-4748-91B6-54FAAD0C7E0B}" destId="{0D3AA780-A5C9-4F26-962F-AEE207D1AA11}" srcOrd="2" destOrd="0" parTransId="{D7526A0B-B723-46E9-BAD0-5CDC8C7B2F9B}" sibTransId="{D003072B-3FE2-4525-BE47-6E473C7C1783}"/>
    <dgm:cxn modelId="{78E04E75-94BE-48A4-9A8F-48B6EA38514B}" type="presOf" srcId="{6AC20ECC-6D26-4F3E-B5AE-FB56354C4F7D}" destId="{FC839D8A-3E00-4EBA-877E-DC31C47D5850}" srcOrd="0" destOrd="0" presId="urn:microsoft.com/office/officeart/2005/8/layout/vList2"/>
    <dgm:cxn modelId="{316F6279-680E-4FBB-88AE-1A66C2E0A83E}" type="presOf" srcId="{0D3AA780-A5C9-4F26-962F-AEE207D1AA11}" destId="{FC839D8A-3E00-4EBA-877E-DC31C47D5850}" srcOrd="0" destOrd="2" presId="urn:microsoft.com/office/officeart/2005/8/layout/vList2"/>
    <dgm:cxn modelId="{FAF7CAB5-8ED1-4A07-B014-1F9753C9168B}" srcId="{D12E3612-1918-447E-8729-8AB469ACE360}" destId="{DFAA75B9-3B40-4748-91B6-54FAAD0C7E0B}" srcOrd="1" destOrd="0" parTransId="{C7D7C45E-C119-4906-BB7E-77B23C7E3B6F}" sibTransId="{CD3DEEA3-81CC-4FC5-A251-C9678885D469}"/>
    <dgm:cxn modelId="{22FD61BD-E284-474B-9ACA-4BAFF236FCA6}" srcId="{DFAA75B9-3B40-4748-91B6-54FAAD0C7E0B}" destId="{C3957EE0-CBD1-4E81-B16D-876492098677}" srcOrd="1" destOrd="0" parTransId="{054E75E9-001C-496D-947C-039A28E49DA7}" sibTransId="{E1C8D6B9-FA8E-4B0E-A519-11720CEAE924}"/>
    <dgm:cxn modelId="{6518A9CD-859D-4BF9-B2C0-C3668EF04DD9}" type="presOf" srcId="{C3957EE0-CBD1-4E81-B16D-876492098677}" destId="{FC839D8A-3E00-4EBA-877E-DC31C47D5850}" srcOrd="0" destOrd="1" presId="urn:microsoft.com/office/officeart/2005/8/layout/vList2"/>
    <dgm:cxn modelId="{613F5DEA-3521-496D-A428-E1A4D7054D07}" type="presOf" srcId="{F8A1402F-47DC-463C-8392-ED033404733D}" destId="{25E4AA0F-FC20-48DE-8892-CA41425D2014}" srcOrd="0" destOrd="0" presId="urn:microsoft.com/office/officeart/2005/8/layout/vList2"/>
    <dgm:cxn modelId="{8A7836F9-093D-4D9E-AD91-433F45AF3B49}" type="presOf" srcId="{21A2F21C-1350-4F0F-83F4-564D6DB5A9A5}" destId="{93210438-9193-4CBA-9606-8DC35B9A6F80}" srcOrd="0" destOrd="0" presId="urn:microsoft.com/office/officeart/2005/8/layout/vList2"/>
    <dgm:cxn modelId="{4CCD43B0-32CD-4979-BE02-B1E41CAC6615}" type="presParOf" srcId="{8B454EF0-4C89-45BC-82E5-BF06F1CF2FB0}" destId="{93210438-9193-4CBA-9606-8DC35B9A6F80}" srcOrd="0" destOrd="0" presId="urn:microsoft.com/office/officeart/2005/8/layout/vList2"/>
    <dgm:cxn modelId="{6FBB2F7A-DECC-40BD-A9D4-3E23DA8AF816}" type="presParOf" srcId="{8B454EF0-4C89-45BC-82E5-BF06F1CF2FB0}" destId="{25E4AA0F-FC20-48DE-8892-CA41425D2014}" srcOrd="1" destOrd="0" presId="urn:microsoft.com/office/officeart/2005/8/layout/vList2"/>
    <dgm:cxn modelId="{06F99441-0162-4A9A-8642-9E21D91C36C0}" type="presParOf" srcId="{8B454EF0-4C89-45BC-82E5-BF06F1CF2FB0}" destId="{67507C4C-D07D-499D-9336-92641C927017}" srcOrd="2" destOrd="0" presId="urn:microsoft.com/office/officeart/2005/8/layout/vList2"/>
    <dgm:cxn modelId="{5B10A67B-7850-4625-A004-273CF2D8AA70}" type="presParOf" srcId="{8B454EF0-4C89-45BC-82E5-BF06F1CF2FB0}" destId="{FC839D8A-3E00-4EBA-877E-DC31C47D585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940B9FB-233B-4E74-BEC9-40C697C5D33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4E3E8D2-DD19-4769-88DC-A61C07F710E1}">
      <dgm:prSet custT="1"/>
      <dgm:spPr/>
      <dgm:t>
        <a:bodyPr/>
        <a:lstStyle/>
        <a:p>
          <a:r>
            <a:rPr lang="en-GB" sz="3200" baseline="0" dirty="0"/>
            <a:t>User Generated</a:t>
          </a:r>
          <a:endParaRPr lang="en-US" sz="3200" dirty="0"/>
        </a:p>
      </dgm:t>
    </dgm:pt>
    <dgm:pt modelId="{1CB4151A-B1EB-4108-8ECB-99C913D9A74D}" type="parTrans" cxnId="{66CD0C26-1050-4C71-AB56-C635B2215EFE}">
      <dgm:prSet/>
      <dgm:spPr/>
      <dgm:t>
        <a:bodyPr/>
        <a:lstStyle/>
        <a:p>
          <a:endParaRPr lang="en-US"/>
        </a:p>
      </dgm:t>
    </dgm:pt>
    <dgm:pt modelId="{B4A0D0E6-F319-4B9B-A555-6FC241FB7A1A}" type="sibTrans" cxnId="{66CD0C26-1050-4C71-AB56-C635B2215EFE}">
      <dgm:prSet/>
      <dgm:spPr/>
      <dgm:t>
        <a:bodyPr/>
        <a:lstStyle/>
        <a:p>
          <a:endParaRPr lang="en-US"/>
        </a:p>
      </dgm:t>
    </dgm:pt>
    <dgm:pt modelId="{DAA82F21-5EB0-4B0F-90DC-8333AD669F12}">
      <dgm:prSet custT="1"/>
      <dgm:spPr/>
      <dgm:t>
        <a:bodyPr/>
        <a:lstStyle/>
        <a:p>
          <a:r>
            <a:rPr lang="en-GB" sz="2000" baseline="0"/>
            <a:t>Created on control </a:t>
          </a:r>
          <a:r>
            <a:rPr lang="en-GB" sz="2000" u="sng" baseline="0"/>
            <a:t>and</a:t>
          </a:r>
          <a:r>
            <a:rPr lang="en-GB" sz="2000" baseline="0"/>
            <a:t> compute nodes</a:t>
          </a:r>
          <a:endParaRPr lang="en-US" sz="2000"/>
        </a:p>
      </dgm:t>
    </dgm:pt>
    <dgm:pt modelId="{94C56D2C-1FF8-4D3A-9D8D-0B797EEC2C3A}" type="parTrans" cxnId="{683CE847-C1A5-49D7-B9EC-92EE5A17A501}">
      <dgm:prSet/>
      <dgm:spPr/>
      <dgm:t>
        <a:bodyPr/>
        <a:lstStyle/>
        <a:p>
          <a:endParaRPr lang="en-US"/>
        </a:p>
      </dgm:t>
    </dgm:pt>
    <dgm:pt modelId="{29A915E5-08A2-4E8E-B6A6-63CB5FA61E4D}" type="sibTrans" cxnId="{683CE847-C1A5-49D7-B9EC-92EE5A17A501}">
      <dgm:prSet/>
      <dgm:spPr/>
      <dgm:t>
        <a:bodyPr/>
        <a:lstStyle/>
        <a:p>
          <a:endParaRPr lang="en-US"/>
        </a:p>
      </dgm:t>
    </dgm:pt>
    <dgm:pt modelId="{DA3AC7C5-B509-468F-B6F5-A408FA1E733F}">
      <dgm:prSet custT="1"/>
      <dgm:spPr/>
      <dgm:t>
        <a:bodyPr/>
        <a:lstStyle/>
        <a:p>
          <a:r>
            <a:rPr lang="en-GB" sz="2000" baseline="0"/>
            <a:t>Can be single or multi-column</a:t>
          </a:r>
          <a:endParaRPr lang="en-US" sz="2000"/>
        </a:p>
      </dgm:t>
    </dgm:pt>
    <dgm:pt modelId="{70F2A2A8-C8DF-4A51-9E21-4E7E0EB1D581}" type="parTrans" cxnId="{8276F787-6468-4519-B17D-14008C0BB927}">
      <dgm:prSet/>
      <dgm:spPr/>
      <dgm:t>
        <a:bodyPr/>
        <a:lstStyle/>
        <a:p>
          <a:endParaRPr lang="en-US"/>
        </a:p>
      </dgm:t>
    </dgm:pt>
    <dgm:pt modelId="{7F03AEA1-5955-44A0-99B6-0D9F725C2EF4}" type="sibTrans" cxnId="{8276F787-6468-4519-B17D-14008C0BB927}">
      <dgm:prSet/>
      <dgm:spPr/>
      <dgm:t>
        <a:bodyPr/>
        <a:lstStyle/>
        <a:p>
          <a:endParaRPr lang="en-US"/>
        </a:p>
      </dgm:t>
    </dgm:pt>
    <dgm:pt modelId="{9A95F77A-27CC-4D8D-A2B4-8B9CA763EF74}">
      <dgm:prSet custT="1"/>
      <dgm:spPr/>
      <dgm:t>
        <a:bodyPr/>
        <a:lstStyle/>
        <a:p>
          <a:r>
            <a:rPr lang="en-GB" sz="2000" baseline="0"/>
            <a:t>Visible via </a:t>
          </a:r>
          <a:r>
            <a:rPr lang="en-GB" sz="2000" baseline="0" err="1"/>
            <a:t>sys.stats</a:t>
          </a:r>
          <a:r>
            <a:rPr lang="en-GB" sz="2000" baseline="0"/>
            <a:t> / </a:t>
          </a:r>
          <a:r>
            <a:rPr lang="en-GB" sz="2000" baseline="0" err="1"/>
            <a:t>sys.stats_columns</a:t>
          </a:r>
          <a:endParaRPr lang="en-US" sz="2000"/>
        </a:p>
      </dgm:t>
    </dgm:pt>
    <dgm:pt modelId="{ED76F78F-B888-487E-BB76-68208EF8BC1F}" type="parTrans" cxnId="{64909BF6-0240-4F60-B731-AAC4D749463D}">
      <dgm:prSet/>
      <dgm:spPr/>
      <dgm:t>
        <a:bodyPr/>
        <a:lstStyle/>
        <a:p>
          <a:endParaRPr lang="en-US"/>
        </a:p>
      </dgm:t>
    </dgm:pt>
    <dgm:pt modelId="{2ECDFCDD-3955-42D9-AA3A-71DF7B5843F8}" type="sibTrans" cxnId="{64909BF6-0240-4F60-B731-AAC4D749463D}">
      <dgm:prSet/>
      <dgm:spPr/>
      <dgm:t>
        <a:bodyPr/>
        <a:lstStyle/>
        <a:p>
          <a:endParaRPr lang="en-US"/>
        </a:p>
      </dgm:t>
    </dgm:pt>
    <dgm:pt modelId="{8000FC12-8C1E-45D9-A7B5-34E98503CA1A}">
      <dgm:prSet custT="1"/>
      <dgm:spPr/>
      <dgm:t>
        <a:bodyPr/>
        <a:lstStyle/>
        <a:p>
          <a:r>
            <a:rPr lang="en-GB" sz="2000" baseline="0"/>
            <a:t>Can be created on a column that has a system-generated statistic</a:t>
          </a:r>
          <a:endParaRPr lang="en-US" sz="2000"/>
        </a:p>
      </dgm:t>
    </dgm:pt>
    <dgm:pt modelId="{E3B4C8AD-AA56-4017-B7C0-E388A7C2B23D}" type="parTrans" cxnId="{116C71BA-F830-4549-A836-BEF8177B396D}">
      <dgm:prSet/>
      <dgm:spPr/>
      <dgm:t>
        <a:bodyPr/>
        <a:lstStyle/>
        <a:p>
          <a:endParaRPr lang="en-US"/>
        </a:p>
      </dgm:t>
    </dgm:pt>
    <dgm:pt modelId="{4C9632E5-8807-4CC3-A65B-5D0F9B7BFB7A}" type="sibTrans" cxnId="{116C71BA-F830-4549-A836-BEF8177B396D}">
      <dgm:prSet/>
      <dgm:spPr/>
      <dgm:t>
        <a:bodyPr/>
        <a:lstStyle/>
        <a:p>
          <a:endParaRPr lang="en-US"/>
        </a:p>
      </dgm:t>
    </dgm:pt>
    <dgm:pt modelId="{E4A4A7E5-1DDD-4B44-8777-2719F2EA570D}">
      <dgm:prSet custT="1"/>
      <dgm:spPr/>
      <dgm:t>
        <a:bodyPr/>
        <a:lstStyle/>
        <a:p>
          <a:r>
            <a:rPr lang="en-GB" sz="2000" baseline="0" dirty="0"/>
            <a:t>Manually created</a:t>
          </a:r>
          <a:endParaRPr lang="en-US" sz="2000" dirty="0"/>
        </a:p>
      </dgm:t>
    </dgm:pt>
    <dgm:pt modelId="{BFA49483-27B6-4F7C-B0A6-11B85BB3FC0B}" type="parTrans" cxnId="{E3BA510F-0FBA-4CD5-88BC-8A05E13B1BE5}">
      <dgm:prSet/>
      <dgm:spPr/>
      <dgm:t>
        <a:bodyPr/>
        <a:lstStyle/>
        <a:p>
          <a:endParaRPr lang="en-US"/>
        </a:p>
      </dgm:t>
    </dgm:pt>
    <dgm:pt modelId="{A764EF09-2DAE-4378-9971-81B56C6A79E6}" type="sibTrans" cxnId="{E3BA510F-0FBA-4CD5-88BC-8A05E13B1BE5}">
      <dgm:prSet/>
      <dgm:spPr/>
      <dgm:t>
        <a:bodyPr/>
        <a:lstStyle/>
        <a:p>
          <a:endParaRPr lang="en-US"/>
        </a:p>
      </dgm:t>
    </dgm:pt>
    <dgm:pt modelId="{F4C3E26B-764D-44D5-A2DC-13267D2F124E}">
      <dgm:prSet custT="1"/>
      <dgm:spPr/>
      <dgm:t>
        <a:bodyPr/>
        <a:lstStyle/>
        <a:p>
          <a:r>
            <a:rPr lang="en-GB" sz="2000" baseline="0"/>
            <a:t>Can be dropped</a:t>
          </a:r>
          <a:endParaRPr lang="en-US" sz="2000"/>
        </a:p>
      </dgm:t>
    </dgm:pt>
    <dgm:pt modelId="{EA65351C-9ACE-4CDB-9C8A-DDDA8D6F8DD9}" type="parTrans" cxnId="{D43FCC1E-FFA8-42B0-A7B6-FF64185C595A}">
      <dgm:prSet/>
      <dgm:spPr/>
      <dgm:t>
        <a:bodyPr/>
        <a:lstStyle/>
        <a:p>
          <a:endParaRPr lang="en-US"/>
        </a:p>
      </dgm:t>
    </dgm:pt>
    <dgm:pt modelId="{FD3093BA-EABE-4851-B968-7809860DF72A}" type="sibTrans" cxnId="{D43FCC1E-FFA8-42B0-A7B6-FF64185C595A}">
      <dgm:prSet/>
      <dgm:spPr/>
      <dgm:t>
        <a:bodyPr/>
        <a:lstStyle/>
        <a:p>
          <a:endParaRPr lang="en-US"/>
        </a:p>
      </dgm:t>
    </dgm:pt>
    <dgm:pt modelId="{550A7A31-3802-476D-A16F-70C8819EA33A}">
      <dgm:prSet custT="1"/>
      <dgm:spPr/>
      <dgm:t>
        <a:bodyPr/>
        <a:lstStyle/>
        <a:p>
          <a:r>
            <a:rPr lang="en-GB" sz="3200" baseline="0" dirty="0"/>
            <a:t>System generated</a:t>
          </a:r>
          <a:endParaRPr lang="en-US" sz="3200" dirty="0"/>
        </a:p>
      </dgm:t>
    </dgm:pt>
    <dgm:pt modelId="{DC7DA9C5-D6DE-4B75-AFC5-D6D8509DF4E0}" type="parTrans" cxnId="{AEE12309-1689-4E33-A402-D13AC828CA9A}">
      <dgm:prSet/>
      <dgm:spPr/>
      <dgm:t>
        <a:bodyPr/>
        <a:lstStyle/>
        <a:p>
          <a:endParaRPr lang="en-US"/>
        </a:p>
      </dgm:t>
    </dgm:pt>
    <dgm:pt modelId="{16857329-8CB4-409A-B8ED-DBA935BDDDD7}" type="sibTrans" cxnId="{AEE12309-1689-4E33-A402-D13AC828CA9A}">
      <dgm:prSet/>
      <dgm:spPr/>
      <dgm:t>
        <a:bodyPr/>
        <a:lstStyle/>
        <a:p>
          <a:endParaRPr lang="en-US"/>
        </a:p>
      </dgm:t>
    </dgm:pt>
    <dgm:pt modelId="{71E5BB79-1936-4BDB-9C2E-7E4BBCFD8E31}">
      <dgm:prSet/>
      <dgm:spPr/>
      <dgm:t>
        <a:bodyPr/>
        <a:lstStyle/>
        <a:p>
          <a:r>
            <a:rPr lang="en-GB" baseline="0"/>
            <a:t>Not seen on Control node</a:t>
          </a:r>
          <a:endParaRPr lang="en-US"/>
        </a:p>
      </dgm:t>
    </dgm:pt>
    <dgm:pt modelId="{D0F0CD23-5F06-4E64-8141-A91D19F007E6}" type="parTrans" cxnId="{3CCA90BF-4D5D-4E9E-B9C5-7F8238185EFC}">
      <dgm:prSet/>
      <dgm:spPr/>
      <dgm:t>
        <a:bodyPr/>
        <a:lstStyle/>
        <a:p>
          <a:endParaRPr lang="en-US"/>
        </a:p>
      </dgm:t>
    </dgm:pt>
    <dgm:pt modelId="{94E4EF1F-F52F-4D32-8EFC-9676877D6E5C}" type="sibTrans" cxnId="{3CCA90BF-4D5D-4E9E-B9C5-7F8238185EFC}">
      <dgm:prSet/>
      <dgm:spPr/>
      <dgm:t>
        <a:bodyPr/>
        <a:lstStyle/>
        <a:p>
          <a:endParaRPr lang="en-US"/>
        </a:p>
      </dgm:t>
    </dgm:pt>
    <dgm:pt modelId="{FD9F2BC3-BD97-4DB1-916E-55A7637FCE6F}">
      <dgm:prSet/>
      <dgm:spPr/>
      <dgm:t>
        <a:bodyPr/>
        <a:lstStyle/>
        <a:p>
          <a:r>
            <a:rPr lang="en-GB" baseline="0"/>
            <a:t>Generated on Compute nodes only</a:t>
          </a:r>
          <a:endParaRPr lang="en-US"/>
        </a:p>
      </dgm:t>
    </dgm:pt>
    <dgm:pt modelId="{584C0CDD-81D4-4F75-8E91-44F0054833EA}" type="parTrans" cxnId="{38FD71D0-23B2-48D3-98D0-1DBB8357C12F}">
      <dgm:prSet/>
      <dgm:spPr/>
      <dgm:t>
        <a:bodyPr/>
        <a:lstStyle/>
        <a:p>
          <a:endParaRPr lang="en-US"/>
        </a:p>
      </dgm:t>
    </dgm:pt>
    <dgm:pt modelId="{E1FD9972-874A-4ABC-BA23-27FF4E94121D}" type="sibTrans" cxnId="{38FD71D0-23B2-48D3-98D0-1DBB8357C12F}">
      <dgm:prSet/>
      <dgm:spPr/>
      <dgm:t>
        <a:bodyPr/>
        <a:lstStyle/>
        <a:p>
          <a:endParaRPr lang="en-US"/>
        </a:p>
      </dgm:t>
    </dgm:pt>
    <dgm:pt modelId="{CF2EDA21-A8A0-49C9-8BBE-274043B13EDB}">
      <dgm:prSet/>
      <dgm:spPr/>
      <dgm:t>
        <a:bodyPr/>
        <a:lstStyle/>
        <a:p>
          <a:r>
            <a:rPr lang="en-GB" baseline="0"/>
            <a:t>Single column only</a:t>
          </a:r>
          <a:endParaRPr lang="en-US"/>
        </a:p>
      </dgm:t>
    </dgm:pt>
    <dgm:pt modelId="{F26BED81-9F7F-4369-96E7-540206B282B4}" type="parTrans" cxnId="{547FE1FE-BCCC-4E34-808F-94B90DD70851}">
      <dgm:prSet/>
      <dgm:spPr/>
      <dgm:t>
        <a:bodyPr/>
        <a:lstStyle/>
        <a:p>
          <a:endParaRPr lang="en-US"/>
        </a:p>
      </dgm:t>
    </dgm:pt>
    <dgm:pt modelId="{025DCCDD-3F40-4D1D-BA84-2F3CC2924FBE}" type="sibTrans" cxnId="{547FE1FE-BCCC-4E34-808F-94B90DD70851}">
      <dgm:prSet/>
      <dgm:spPr/>
      <dgm:t>
        <a:bodyPr/>
        <a:lstStyle/>
        <a:p>
          <a:endParaRPr lang="en-US"/>
        </a:p>
      </dgm:t>
    </dgm:pt>
    <dgm:pt modelId="{B5477950-2456-4115-A7FC-5200FEA7D0A2}">
      <dgm:prSet/>
      <dgm:spPr/>
      <dgm:t>
        <a:bodyPr/>
        <a:lstStyle/>
        <a:p>
          <a:r>
            <a:rPr lang="en-GB" baseline="0"/>
            <a:t>Not visible via sys.stats / </a:t>
          </a:r>
          <a:r>
            <a:rPr lang="en-GB" baseline="0" err="1"/>
            <a:t>sys.stats_columns</a:t>
          </a:r>
          <a:endParaRPr lang="en-US"/>
        </a:p>
      </dgm:t>
    </dgm:pt>
    <dgm:pt modelId="{AAA69B8F-BE49-4568-9BD4-E6A4E4717579}" type="parTrans" cxnId="{3020175C-2B3F-4C2D-9BD9-4C0BEEC06B78}">
      <dgm:prSet/>
      <dgm:spPr/>
      <dgm:t>
        <a:bodyPr/>
        <a:lstStyle/>
        <a:p>
          <a:endParaRPr lang="en-US"/>
        </a:p>
      </dgm:t>
    </dgm:pt>
    <dgm:pt modelId="{695238BB-25CB-4255-A4CA-C0AED2AB487A}" type="sibTrans" cxnId="{3020175C-2B3F-4C2D-9BD9-4C0BEEC06B78}">
      <dgm:prSet/>
      <dgm:spPr/>
      <dgm:t>
        <a:bodyPr/>
        <a:lstStyle/>
        <a:p>
          <a:endParaRPr lang="en-US"/>
        </a:p>
      </dgm:t>
    </dgm:pt>
    <dgm:pt modelId="{8C7BDD11-D79C-4960-B44B-DB7BCD269507}">
      <dgm:prSet/>
      <dgm:spPr/>
      <dgm:t>
        <a:bodyPr/>
        <a:lstStyle/>
        <a:p>
          <a:r>
            <a:rPr lang="en-GB" b="0"/>
            <a:t>Generated if no statistic exists on the column </a:t>
          </a:r>
          <a:endParaRPr lang="en-US" b="0"/>
        </a:p>
      </dgm:t>
    </dgm:pt>
    <dgm:pt modelId="{9830A760-15DE-4DDD-9479-65535255C2F7}" type="parTrans" cxnId="{618E7BF2-4F5C-49CB-99FA-56BAB9B3D572}">
      <dgm:prSet/>
      <dgm:spPr/>
      <dgm:t>
        <a:bodyPr/>
        <a:lstStyle/>
        <a:p>
          <a:endParaRPr lang="en-US"/>
        </a:p>
      </dgm:t>
    </dgm:pt>
    <dgm:pt modelId="{A3409022-0EF8-4BED-8614-137A9306EAAF}" type="sibTrans" cxnId="{618E7BF2-4F5C-49CB-99FA-56BAB9B3D572}">
      <dgm:prSet/>
      <dgm:spPr/>
      <dgm:t>
        <a:bodyPr/>
        <a:lstStyle/>
        <a:p>
          <a:endParaRPr lang="en-US"/>
        </a:p>
      </dgm:t>
    </dgm:pt>
    <dgm:pt modelId="{0D5D4F65-CC4A-44AB-B84D-F4E6A36DA04E}">
      <dgm:prSet/>
      <dgm:spPr/>
      <dgm:t>
        <a:bodyPr/>
        <a:lstStyle/>
        <a:p>
          <a:r>
            <a:rPr lang="en-GB" b="0" dirty="0">
              <a:latin typeface="+mn-lt"/>
            </a:rPr>
            <a:t>(AUTO_CREATE_STATISTICS ON)</a:t>
          </a:r>
        </a:p>
      </dgm:t>
    </dgm:pt>
    <dgm:pt modelId="{FE9EDF29-D000-46EB-9C3B-EF770A61A738}" type="parTrans" cxnId="{842F01EB-47A1-427C-81CC-B7E56272229E}">
      <dgm:prSet/>
      <dgm:spPr/>
      <dgm:t>
        <a:bodyPr/>
        <a:lstStyle/>
        <a:p>
          <a:endParaRPr lang="en-US"/>
        </a:p>
      </dgm:t>
    </dgm:pt>
    <dgm:pt modelId="{A401C745-D382-40AF-A5D8-1CC6D16E00AA}" type="sibTrans" cxnId="{842F01EB-47A1-427C-81CC-B7E56272229E}">
      <dgm:prSet/>
      <dgm:spPr/>
      <dgm:t>
        <a:bodyPr/>
        <a:lstStyle/>
        <a:p>
          <a:endParaRPr lang="en-US"/>
        </a:p>
      </dgm:t>
    </dgm:pt>
    <dgm:pt modelId="{35D01EE0-C761-4890-9590-42995686419B}">
      <dgm:prSet/>
      <dgm:spPr/>
      <dgm:t>
        <a:bodyPr/>
        <a:lstStyle/>
        <a:p>
          <a:r>
            <a:rPr lang="en-GB" b="0" dirty="0">
              <a:latin typeface="+mn-lt"/>
            </a:rPr>
            <a:t>Generated as required to improve SMP cardinality estimates</a:t>
          </a:r>
        </a:p>
      </dgm:t>
    </dgm:pt>
    <dgm:pt modelId="{72BE21F1-0F46-438B-9FF7-0F51D0A32230}" type="parTrans" cxnId="{AE7CDFCF-6C4D-4483-9E5F-3B397AF7F53A}">
      <dgm:prSet/>
      <dgm:spPr/>
      <dgm:t>
        <a:bodyPr/>
        <a:lstStyle/>
        <a:p>
          <a:endParaRPr lang="en-US"/>
        </a:p>
      </dgm:t>
    </dgm:pt>
    <dgm:pt modelId="{53259229-F13C-4586-A468-35DED5CF9F68}" type="sibTrans" cxnId="{AE7CDFCF-6C4D-4483-9E5F-3B397AF7F53A}">
      <dgm:prSet/>
      <dgm:spPr/>
      <dgm:t>
        <a:bodyPr/>
        <a:lstStyle/>
        <a:p>
          <a:endParaRPr lang="en-US"/>
        </a:p>
      </dgm:t>
    </dgm:pt>
    <dgm:pt modelId="{275A7815-C54B-42A4-ADB7-07011D52D42B}" type="pres">
      <dgm:prSet presAssocID="{7940B9FB-233B-4E74-BEC9-40C697C5D33D}" presName="Name0" presStyleCnt="0">
        <dgm:presLayoutVars>
          <dgm:dir/>
          <dgm:animLvl val="lvl"/>
          <dgm:resizeHandles val="exact"/>
        </dgm:presLayoutVars>
      </dgm:prSet>
      <dgm:spPr/>
    </dgm:pt>
    <dgm:pt modelId="{9D7A06B3-CCBC-46EA-829D-BE9E55663AF7}" type="pres">
      <dgm:prSet presAssocID="{64E3E8D2-DD19-4769-88DC-A61C07F710E1}" presName="composite" presStyleCnt="0"/>
      <dgm:spPr/>
    </dgm:pt>
    <dgm:pt modelId="{4A507F85-82B6-4EB0-9D75-81D638320E73}" type="pres">
      <dgm:prSet presAssocID="{64E3E8D2-DD19-4769-88DC-A61C07F710E1}" presName="parTx" presStyleLbl="alignNode1" presStyleIdx="0" presStyleCnt="2">
        <dgm:presLayoutVars>
          <dgm:chMax val="0"/>
          <dgm:chPref val="0"/>
          <dgm:bulletEnabled val="1"/>
        </dgm:presLayoutVars>
      </dgm:prSet>
      <dgm:spPr/>
    </dgm:pt>
    <dgm:pt modelId="{F4821FC8-6571-42BF-875D-F73B26AD45EB}" type="pres">
      <dgm:prSet presAssocID="{64E3E8D2-DD19-4769-88DC-A61C07F710E1}" presName="desTx" presStyleLbl="alignAccFollowNode1" presStyleIdx="0" presStyleCnt="2">
        <dgm:presLayoutVars>
          <dgm:bulletEnabled val="1"/>
        </dgm:presLayoutVars>
      </dgm:prSet>
      <dgm:spPr/>
    </dgm:pt>
    <dgm:pt modelId="{9474C45B-C193-4B22-97C3-63E68645BDDA}" type="pres">
      <dgm:prSet presAssocID="{B4A0D0E6-F319-4B9B-A555-6FC241FB7A1A}" presName="space" presStyleCnt="0"/>
      <dgm:spPr/>
    </dgm:pt>
    <dgm:pt modelId="{C08AD2E5-4455-4718-B1DC-5ACE5D31EF61}" type="pres">
      <dgm:prSet presAssocID="{550A7A31-3802-476D-A16F-70C8819EA33A}" presName="composite" presStyleCnt="0"/>
      <dgm:spPr/>
    </dgm:pt>
    <dgm:pt modelId="{AEF262FC-024E-44BF-85E3-E51508EC36B5}" type="pres">
      <dgm:prSet presAssocID="{550A7A31-3802-476D-A16F-70C8819EA33A}" presName="parTx" presStyleLbl="alignNode1" presStyleIdx="1" presStyleCnt="2">
        <dgm:presLayoutVars>
          <dgm:chMax val="0"/>
          <dgm:chPref val="0"/>
          <dgm:bulletEnabled val="1"/>
        </dgm:presLayoutVars>
      </dgm:prSet>
      <dgm:spPr/>
    </dgm:pt>
    <dgm:pt modelId="{F3B9F408-E8BA-4531-A3CF-2747F5E4A30E}" type="pres">
      <dgm:prSet presAssocID="{550A7A31-3802-476D-A16F-70C8819EA33A}" presName="desTx" presStyleLbl="alignAccFollowNode1" presStyleIdx="1" presStyleCnt="2">
        <dgm:presLayoutVars>
          <dgm:bulletEnabled val="1"/>
        </dgm:presLayoutVars>
      </dgm:prSet>
      <dgm:spPr/>
    </dgm:pt>
  </dgm:ptLst>
  <dgm:cxnLst>
    <dgm:cxn modelId="{67B62C01-9BF8-4C40-A213-19ED5DB015EF}" type="presOf" srcId="{8C7BDD11-D79C-4960-B44B-DB7BCD269507}" destId="{F3B9F408-E8BA-4531-A3CF-2747F5E4A30E}" srcOrd="0" destOrd="4" presId="urn:microsoft.com/office/officeart/2005/8/layout/hList1"/>
    <dgm:cxn modelId="{AEE12309-1689-4E33-A402-D13AC828CA9A}" srcId="{7940B9FB-233B-4E74-BEC9-40C697C5D33D}" destId="{550A7A31-3802-476D-A16F-70C8819EA33A}" srcOrd="1" destOrd="0" parTransId="{DC7DA9C5-D6DE-4B75-AFC5-D6D8509DF4E0}" sibTransId="{16857329-8CB4-409A-B8ED-DBA935BDDDD7}"/>
    <dgm:cxn modelId="{BC11980A-B960-4777-9CC6-302FFF287C46}" type="presOf" srcId="{7940B9FB-233B-4E74-BEC9-40C697C5D33D}" destId="{275A7815-C54B-42A4-ADB7-07011D52D42B}" srcOrd="0" destOrd="0" presId="urn:microsoft.com/office/officeart/2005/8/layout/hList1"/>
    <dgm:cxn modelId="{E3BA510F-0FBA-4CD5-88BC-8A05E13B1BE5}" srcId="{64E3E8D2-DD19-4769-88DC-A61C07F710E1}" destId="{E4A4A7E5-1DDD-4B44-8777-2719F2EA570D}" srcOrd="4" destOrd="0" parTransId="{BFA49483-27B6-4F7C-B0A6-11B85BB3FC0B}" sibTransId="{A764EF09-2DAE-4378-9971-81B56C6A79E6}"/>
    <dgm:cxn modelId="{DCFD9918-1938-458C-83DF-084DAFAE1D0E}" type="presOf" srcId="{CF2EDA21-A8A0-49C9-8BBE-274043B13EDB}" destId="{F3B9F408-E8BA-4531-A3CF-2747F5E4A30E}" srcOrd="0" destOrd="2" presId="urn:microsoft.com/office/officeart/2005/8/layout/hList1"/>
    <dgm:cxn modelId="{D43FCC1E-FFA8-42B0-A7B6-FF64185C595A}" srcId="{64E3E8D2-DD19-4769-88DC-A61C07F710E1}" destId="{F4C3E26B-764D-44D5-A2DC-13267D2F124E}" srcOrd="5" destOrd="0" parTransId="{EA65351C-9ACE-4CDB-9C8A-DDDA8D6F8DD9}" sibTransId="{FD3093BA-EABE-4851-B968-7809860DF72A}"/>
    <dgm:cxn modelId="{66CD0C26-1050-4C71-AB56-C635B2215EFE}" srcId="{7940B9FB-233B-4E74-BEC9-40C697C5D33D}" destId="{64E3E8D2-DD19-4769-88DC-A61C07F710E1}" srcOrd="0" destOrd="0" parTransId="{1CB4151A-B1EB-4108-8ECB-99C913D9A74D}" sibTransId="{B4A0D0E6-F319-4B9B-A555-6FC241FB7A1A}"/>
    <dgm:cxn modelId="{AB1C8630-735A-4F3C-8338-FD95320E14F7}" type="presOf" srcId="{0D5D4F65-CC4A-44AB-B84D-F4E6A36DA04E}" destId="{F3B9F408-E8BA-4531-A3CF-2747F5E4A30E}" srcOrd="0" destOrd="5" presId="urn:microsoft.com/office/officeart/2005/8/layout/hList1"/>
    <dgm:cxn modelId="{3020175C-2B3F-4C2D-9BD9-4C0BEEC06B78}" srcId="{550A7A31-3802-476D-A16F-70C8819EA33A}" destId="{B5477950-2456-4115-A7FC-5200FEA7D0A2}" srcOrd="3" destOrd="0" parTransId="{AAA69B8F-BE49-4568-9BD4-E6A4E4717579}" sibTransId="{695238BB-25CB-4255-A4CA-C0AED2AB487A}"/>
    <dgm:cxn modelId="{7A853063-844D-4D54-BC0E-4C4C6FC7B270}" type="presOf" srcId="{F4C3E26B-764D-44D5-A2DC-13267D2F124E}" destId="{F4821FC8-6571-42BF-875D-F73B26AD45EB}" srcOrd="0" destOrd="5" presId="urn:microsoft.com/office/officeart/2005/8/layout/hList1"/>
    <dgm:cxn modelId="{0CC0C946-5C93-40A3-BEFC-691B5888E853}" type="presOf" srcId="{E4A4A7E5-1DDD-4B44-8777-2719F2EA570D}" destId="{F4821FC8-6571-42BF-875D-F73B26AD45EB}" srcOrd="0" destOrd="4" presId="urn:microsoft.com/office/officeart/2005/8/layout/hList1"/>
    <dgm:cxn modelId="{683CE847-C1A5-49D7-B9EC-92EE5A17A501}" srcId="{64E3E8D2-DD19-4769-88DC-A61C07F710E1}" destId="{DAA82F21-5EB0-4B0F-90DC-8333AD669F12}" srcOrd="0" destOrd="0" parTransId="{94C56D2C-1FF8-4D3A-9D8D-0B797EEC2C3A}" sibTransId="{29A915E5-08A2-4E8E-B6A6-63CB5FA61E4D}"/>
    <dgm:cxn modelId="{8276F787-6468-4519-B17D-14008C0BB927}" srcId="{64E3E8D2-DD19-4769-88DC-A61C07F710E1}" destId="{DA3AC7C5-B509-468F-B6F5-A408FA1E733F}" srcOrd="1" destOrd="0" parTransId="{70F2A2A8-C8DF-4A51-9E21-4E7E0EB1D581}" sibTransId="{7F03AEA1-5955-44A0-99B6-0D9F725C2EF4}"/>
    <dgm:cxn modelId="{CF909588-94DB-42EE-819C-1FC023F988DB}" type="presOf" srcId="{9A95F77A-27CC-4D8D-A2B4-8B9CA763EF74}" destId="{F4821FC8-6571-42BF-875D-F73B26AD45EB}" srcOrd="0" destOrd="2" presId="urn:microsoft.com/office/officeart/2005/8/layout/hList1"/>
    <dgm:cxn modelId="{7AA3F196-F104-4E0B-B9B0-5888C0577092}" type="presOf" srcId="{64E3E8D2-DD19-4769-88DC-A61C07F710E1}" destId="{4A507F85-82B6-4EB0-9D75-81D638320E73}" srcOrd="0" destOrd="0" presId="urn:microsoft.com/office/officeart/2005/8/layout/hList1"/>
    <dgm:cxn modelId="{20FF3CA6-0BA5-4A88-96EF-38D1D2CF90E9}" type="presOf" srcId="{8000FC12-8C1E-45D9-A7B5-34E98503CA1A}" destId="{F4821FC8-6571-42BF-875D-F73B26AD45EB}" srcOrd="0" destOrd="3" presId="urn:microsoft.com/office/officeart/2005/8/layout/hList1"/>
    <dgm:cxn modelId="{7D93A2B0-F9CD-46CD-957C-8B73BDFC7474}" type="presOf" srcId="{DAA82F21-5EB0-4B0F-90DC-8333AD669F12}" destId="{F4821FC8-6571-42BF-875D-F73B26AD45EB}" srcOrd="0" destOrd="0" presId="urn:microsoft.com/office/officeart/2005/8/layout/hList1"/>
    <dgm:cxn modelId="{116C71BA-F830-4549-A836-BEF8177B396D}" srcId="{64E3E8D2-DD19-4769-88DC-A61C07F710E1}" destId="{8000FC12-8C1E-45D9-A7B5-34E98503CA1A}" srcOrd="3" destOrd="0" parTransId="{E3B4C8AD-AA56-4017-B7C0-E388A7C2B23D}" sibTransId="{4C9632E5-8807-4CC3-A65B-5D0F9B7BFB7A}"/>
    <dgm:cxn modelId="{3CCA90BF-4D5D-4E9E-B9C5-7F8238185EFC}" srcId="{550A7A31-3802-476D-A16F-70C8819EA33A}" destId="{71E5BB79-1936-4BDB-9C2E-7E4BBCFD8E31}" srcOrd="0" destOrd="0" parTransId="{D0F0CD23-5F06-4E64-8141-A91D19F007E6}" sibTransId="{94E4EF1F-F52F-4D32-8EFC-9676877D6E5C}"/>
    <dgm:cxn modelId="{AE7CDFCF-6C4D-4483-9E5F-3B397AF7F53A}" srcId="{550A7A31-3802-476D-A16F-70C8819EA33A}" destId="{35D01EE0-C761-4890-9590-42995686419B}" srcOrd="5" destOrd="0" parTransId="{72BE21F1-0F46-438B-9FF7-0F51D0A32230}" sibTransId="{53259229-F13C-4586-A468-35DED5CF9F68}"/>
    <dgm:cxn modelId="{38FD71D0-23B2-48D3-98D0-1DBB8357C12F}" srcId="{550A7A31-3802-476D-A16F-70C8819EA33A}" destId="{FD9F2BC3-BD97-4DB1-916E-55A7637FCE6F}" srcOrd="1" destOrd="0" parTransId="{584C0CDD-81D4-4F75-8E91-44F0054833EA}" sibTransId="{E1FD9972-874A-4ABC-BA23-27FF4E94121D}"/>
    <dgm:cxn modelId="{9896F9D8-1789-40B9-980F-AB27FE9DE5F7}" type="presOf" srcId="{71E5BB79-1936-4BDB-9C2E-7E4BBCFD8E31}" destId="{F3B9F408-E8BA-4531-A3CF-2747F5E4A30E}" srcOrd="0" destOrd="0" presId="urn:microsoft.com/office/officeart/2005/8/layout/hList1"/>
    <dgm:cxn modelId="{C22D06D9-6016-4384-AF4D-8EEF14EC4F60}" type="presOf" srcId="{DA3AC7C5-B509-468F-B6F5-A408FA1E733F}" destId="{F4821FC8-6571-42BF-875D-F73B26AD45EB}" srcOrd="0" destOrd="1" presId="urn:microsoft.com/office/officeart/2005/8/layout/hList1"/>
    <dgm:cxn modelId="{DFB7FAE5-E9C8-498C-976A-E8883F1A5C62}" type="presOf" srcId="{FD9F2BC3-BD97-4DB1-916E-55A7637FCE6F}" destId="{F3B9F408-E8BA-4531-A3CF-2747F5E4A30E}" srcOrd="0" destOrd="1" presId="urn:microsoft.com/office/officeart/2005/8/layout/hList1"/>
    <dgm:cxn modelId="{99F595E9-CA8F-44A0-8BD1-B45326EA4BEA}" type="presOf" srcId="{B5477950-2456-4115-A7FC-5200FEA7D0A2}" destId="{F3B9F408-E8BA-4531-A3CF-2747F5E4A30E}" srcOrd="0" destOrd="3" presId="urn:microsoft.com/office/officeart/2005/8/layout/hList1"/>
    <dgm:cxn modelId="{842F01EB-47A1-427C-81CC-B7E56272229E}" srcId="{8C7BDD11-D79C-4960-B44B-DB7BCD269507}" destId="{0D5D4F65-CC4A-44AB-B84D-F4E6A36DA04E}" srcOrd="0" destOrd="0" parTransId="{FE9EDF29-D000-46EB-9C3B-EF770A61A738}" sibTransId="{A401C745-D382-40AF-A5D8-1CC6D16E00AA}"/>
    <dgm:cxn modelId="{DCAB78F1-00B2-4091-B8C8-8C123566A5A5}" type="presOf" srcId="{35D01EE0-C761-4890-9590-42995686419B}" destId="{F3B9F408-E8BA-4531-A3CF-2747F5E4A30E}" srcOrd="0" destOrd="6" presId="urn:microsoft.com/office/officeart/2005/8/layout/hList1"/>
    <dgm:cxn modelId="{618E7BF2-4F5C-49CB-99FA-56BAB9B3D572}" srcId="{550A7A31-3802-476D-A16F-70C8819EA33A}" destId="{8C7BDD11-D79C-4960-B44B-DB7BCD269507}" srcOrd="4" destOrd="0" parTransId="{9830A760-15DE-4DDD-9479-65535255C2F7}" sibTransId="{A3409022-0EF8-4BED-8614-137A9306EAAF}"/>
    <dgm:cxn modelId="{64909BF6-0240-4F60-B731-AAC4D749463D}" srcId="{64E3E8D2-DD19-4769-88DC-A61C07F710E1}" destId="{9A95F77A-27CC-4D8D-A2B4-8B9CA763EF74}" srcOrd="2" destOrd="0" parTransId="{ED76F78F-B888-487E-BB76-68208EF8BC1F}" sibTransId="{2ECDFCDD-3955-42D9-AA3A-71DF7B5843F8}"/>
    <dgm:cxn modelId="{7BCEA7F9-A87C-4F34-A0AF-CEA4FFFEDFC4}" type="presOf" srcId="{550A7A31-3802-476D-A16F-70C8819EA33A}" destId="{AEF262FC-024E-44BF-85E3-E51508EC36B5}" srcOrd="0" destOrd="0" presId="urn:microsoft.com/office/officeart/2005/8/layout/hList1"/>
    <dgm:cxn modelId="{547FE1FE-BCCC-4E34-808F-94B90DD70851}" srcId="{550A7A31-3802-476D-A16F-70C8819EA33A}" destId="{CF2EDA21-A8A0-49C9-8BBE-274043B13EDB}" srcOrd="2" destOrd="0" parTransId="{F26BED81-9F7F-4369-96E7-540206B282B4}" sibTransId="{025DCCDD-3F40-4D1D-BA84-2F3CC2924FBE}"/>
    <dgm:cxn modelId="{985A0898-9CFE-42DD-95EB-88924ADDC9D4}" type="presParOf" srcId="{275A7815-C54B-42A4-ADB7-07011D52D42B}" destId="{9D7A06B3-CCBC-46EA-829D-BE9E55663AF7}" srcOrd="0" destOrd="0" presId="urn:microsoft.com/office/officeart/2005/8/layout/hList1"/>
    <dgm:cxn modelId="{7C4F806B-E184-40B4-AEF1-0982F99D9570}" type="presParOf" srcId="{9D7A06B3-CCBC-46EA-829D-BE9E55663AF7}" destId="{4A507F85-82B6-4EB0-9D75-81D638320E73}" srcOrd="0" destOrd="0" presId="urn:microsoft.com/office/officeart/2005/8/layout/hList1"/>
    <dgm:cxn modelId="{3B10D0FB-78A1-4215-BF2D-F6E0EEAAD16F}" type="presParOf" srcId="{9D7A06B3-CCBC-46EA-829D-BE9E55663AF7}" destId="{F4821FC8-6571-42BF-875D-F73B26AD45EB}" srcOrd="1" destOrd="0" presId="urn:microsoft.com/office/officeart/2005/8/layout/hList1"/>
    <dgm:cxn modelId="{95A6810A-EC59-443C-A2D4-325AC12E1FD4}" type="presParOf" srcId="{275A7815-C54B-42A4-ADB7-07011D52D42B}" destId="{9474C45B-C193-4B22-97C3-63E68645BDDA}" srcOrd="1" destOrd="0" presId="urn:microsoft.com/office/officeart/2005/8/layout/hList1"/>
    <dgm:cxn modelId="{59463E83-BEE6-4FF5-A4BB-DDA9A8FD5417}" type="presParOf" srcId="{275A7815-C54B-42A4-ADB7-07011D52D42B}" destId="{C08AD2E5-4455-4718-B1DC-5ACE5D31EF61}" srcOrd="2" destOrd="0" presId="urn:microsoft.com/office/officeart/2005/8/layout/hList1"/>
    <dgm:cxn modelId="{39BD8FFF-829F-4063-921A-23BCB4FC6EE7}" type="presParOf" srcId="{C08AD2E5-4455-4718-B1DC-5ACE5D31EF61}" destId="{AEF262FC-024E-44BF-85E3-E51508EC36B5}" srcOrd="0" destOrd="0" presId="urn:microsoft.com/office/officeart/2005/8/layout/hList1"/>
    <dgm:cxn modelId="{F061FF38-AD67-4F4C-8FA2-FD16EAD54FB2}" type="presParOf" srcId="{C08AD2E5-4455-4718-B1DC-5ACE5D31EF61}" destId="{F3B9F408-E8BA-4531-A3CF-2747F5E4A30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09783EE-C8DC-48AC-9D5C-4CAE49F5005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062DB11E-6A0B-40AB-812C-17A86CDD8429}">
      <dgm:prSet custT="1"/>
      <dgm:spPr/>
      <dgm:t>
        <a:bodyPr/>
        <a:lstStyle/>
        <a:p>
          <a:r>
            <a:rPr lang="en-GB" sz="3600" b="0"/>
            <a:t>Selectivity</a:t>
          </a:r>
          <a:endParaRPr lang="en-US" sz="3600" b="0"/>
        </a:p>
      </dgm:t>
    </dgm:pt>
    <dgm:pt modelId="{A24E625B-7A68-425A-B8B5-C32C34845604}" type="parTrans" cxnId="{E9DD6876-DB07-4A99-A1A5-8CBF4696BB65}">
      <dgm:prSet/>
      <dgm:spPr/>
      <dgm:t>
        <a:bodyPr/>
        <a:lstStyle/>
        <a:p>
          <a:endParaRPr lang="en-US"/>
        </a:p>
      </dgm:t>
    </dgm:pt>
    <dgm:pt modelId="{5F0D47D6-5921-40F7-BF7A-A053288E6296}" type="sibTrans" cxnId="{E9DD6876-DB07-4A99-A1A5-8CBF4696BB65}">
      <dgm:prSet/>
      <dgm:spPr/>
      <dgm:t>
        <a:bodyPr/>
        <a:lstStyle/>
        <a:p>
          <a:endParaRPr lang="en-US"/>
        </a:p>
      </dgm:t>
    </dgm:pt>
    <dgm:pt modelId="{D46E8E0F-50F7-4254-8A54-C9EACB4E6006}">
      <dgm:prSet custT="1"/>
      <dgm:spPr/>
      <dgm:t>
        <a:bodyPr/>
        <a:lstStyle/>
        <a:p>
          <a:r>
            <a:rPr lang="en-US" sz="3200"/>
            <a:t>JOIN</a:t>
          </a:r>
        </a:p>
      </dgm:t>
    </dgm:pt>
    <dgm:pt modelId="{669883A7-0035-4020-89F0-20D5F07C6A82}" type="parTrans" cxnId="{C5DE2751-4788-46A0-A967-0E0BB3EC0181}">
      <dgm:prSet/>
      <dgm:spPr/>
      <dgm:t>
        <a:bodyPr/>
        <a:lstStyle/>
        <a:p>
          <a:endParaRPr lang="en-US"/>
        </a:p>
      </dgm:t>
    </dgm:pt>
    <dgm:pt modelId="{CBF1B2BE-AD8A-4C3D-BE36-D08AEC70E0F6}" type="sibTrans" cxnId="{C5DE2751-4788-46A0-A967-0E0BB3EC0181}">
      <dgm:prSet/>
      <dgm:spPr/>
      <dgm:t>
        <a:bodyPr/>
        <a:lstStyle/>
        <a:p>
          <a:endParaRPr lang="en-US"/>
        </a:p>
      </dgm:t>
    </dgm:pt>
    <dgm:pt modelId="{91648E82-B15A-4D63-A6E5-C8006751B377}">
      <dgm:prSet custT="1"/>
      <dgm:spPr/>
      <dgm:t>
        <a:bodyPr/>
        <a:lstStyle/>
        <a:p>
          <a:r>
            <a:rPr lang="en-US" sz="3200"/>
            <a:t>WHERE </a:t>
          </a:r>
        </a:p>
      </dgm:t>
    </dgm:pt>
    <dgm:pt modelId="{66A453A4-C51F-43F1-96EB-883B910CCCDE}" type="parTrans" cxnId="{2E301BF2-B961-47FD-B9D1-DD951ACCE2A2}">
      <dgm:prSet/>
      <dgm:spPr/>
      <dgm:t>
        <a:bodyPr/>
        <a:lstStyle/>
        <a:p>
          <a:endParaRPr lang="en-US"/>
        </a:p>
      </dgm:t>
    </dgm:pt>
    <dgm:pt modelId="{27D26D86-FF00-4294-999C-58794C3F1663}" type="sibTrans" cxnId="{2E301BF2-B961-47FD-B9D1-DD951ACCE2A2}">
      <dgm:prSet/>
      <dgm:spPr/>
      <dgm:t>
        <a:bodyPr/>
        <a:lstStyle/>
        <a:p>
          <a:endParaRPr lang="en-US"/>
        </a:p>
      </dgm:t>
    </dgm:pt>
    <dgm:pt modelId="{8B192FE3-E4BB-4A9C-83C6-843AFBC05553}">
      <dgm:prSet custT="1"/>
      <dgm:spPr/>
      <dgm:t>
        <a:bodyPr/>
        <a:lstStyle/>
        <a:p>
          <a:r>
            <a:rPr lang="en-US" sz="3200"/>
            <a:t>HAVING</a:t>
          </a:r>
        </a:p>
      </dgm:t>
    </dgm:pt>
    <dgm:pt modelId="{EC692493-BAF9-4BEB-A205-BBD375AB4BA8}" type="parTrans" cxnId="{C0869F35-E733-4AF4-98BC-EC07DCA2B9B2}">
      <dgm:prSet/>
      <dgm:spPr/>
      <dgm:t>
        <a:bodyPr/>
        <a:lstStyle/>
        <a:p>
          <a:endParaRPr lang="en-US"/>
        </a:p>
      </dgm:t>
    </dgm:pt>
    <dgm:pt modelId="{8E5F64DB-DC0E-4F91-81B1-BC643DA0808E}" type="sibTrans" cxnId="{C0869F35-E733-4AF4-98BC-EC07DCA2B9B2}">
      <dgm:prSet/>
      <dgm:spPr/>
      <dgm:t>
        <a:bodyPr/>
        <a:lstStyle/>
        <a:p>
          <a:endParaRPr lang="en-US"/>
        </a:p>
      </dgm:t>
    </dgm:pt>
    <dgm:pt modelId="{7D7B3A8E-16CE-483F-8E80-E10667FC0778}">
      <dgm:prSet custT="1"/>
      <dgm:spPr/>
      <dgm:t>
        <a:bodyPr/>
        <a:lstStyle/>
        <a:p>
          <a:r>
            <a:rPr lang="en-US" sz="3600"/>
            <a:t>Distinct Values</a:t>
          </a:r>
        </a:p>
      </dgm:t>
    </dgm:pt>
    <dgm:pt modelId="{71EC94D5-0F4D-40E5-950C-C9DB2E047436}" type="parTrans" cxnId="{25E5549D-11AF-4C64-9F7E-96856DE63E11}">
      <dgm:prSet/>
      <dgm:spPr/>
      <dgm:t>
        <a:bodyPr/>
        <a:lstStyle/>
        <a:p>
          <a:endParaRPr lang="en-US"/>
        </a:p>
      </dgm:t>
    </dgm:pt>
    <dgm:pt modelId="{A3657B27-C239-4C6F-9EF8-8047AC11D9E3}" type="sibTrans" cxnId="{25E5549D-11AF-4C64-9F7E-96856DE63E11}">
      <dgm:prSet/>
      <dgm:spPr/>
      <dgm:t>
        <a:bodyPr/>
        <a:lstStyle/>
        <a:p>
          <a:endParaRPr lang="en-US"/>
        </a:p>
      </dgm:t>
    </dgm:pt>
    <dgm:pt modelId="{BA109083-2CC9-479A-BAE9-11E6FCF5A828}">
      <dgm:prSet custT="1"/>
      <dgm:spPr/>
      <dgm:t>
        <a:bodyPr/>
        <a:lstStyle/>
        <a:p>
          <a:r>
            <a:rPr lang="en-US" sz="3200"/>
            <a:t>GROUP BY</a:t>
          </a:r>
        </a:p>
      </dgm:t>
    </dgm:pt>
    <dgm:pt modelId="{BB8B1A16-0BE0-4292-9395-C9064CC2D03E}" type="parTrans" cxnId="{2CAC9F6B-DA55-4AFE-A7B3-15BDFE95F258}">
      <dgm:prSet/>
      <dgm:spPr/>
      <dgm:t>
        <a:bodyPr/>
        <a:lstStyle/>
        <a:p>
          <a:endParaRPr lang="en-US"/>
        </a:p>
      </dgm:t>
    </dgm:pt>
    <dgm:pt modelId="{39906FFA-0C93-48F0-93F8-82B9D9DEEB98}" type="sibTrans" cxnId="{2CAC9F6B-DA55-4AFE-A7B3-15BDFE95F258}">
      <dgm:prSet/>
      <dgm:spPr/>
      <dgm:t>
        <a:bodyPr/>
        <a:lstStyle/>
        <a:p>
          <a:endParaRPr lang="en-US"/>
        </a:p>
      </dgm:t>
    </dgm:pt>
    <dgm:pt modelId="{34CDF609-9C14-4055-9F61-C017E5BE4495}">
      <dgm:prSet custT="1"/>
      <dgm:spPr/>
      <dgm:t>
        <a:bodyPr/>
        <a:lstStyle/>
        <a:p>
          <a:r>
            <a:rPr lang="en-US" sz="3200"/>
            <a:t>DISTINCT</a:t>
          </a:r>
        </a:p>
      </dgm:t>
    </dgm:pt>
    <dgm:pt modelId="{82D5A85F-B7A7-45A2-9E7F-1478E913645B}" type="parTrans" cxnId="{66569407-C10E-4BF7-82D4-006D4CB51CB8}">
      <dgm:prSet/>
      <dgm:spPr/>
      <dgm:t>
        <a:bodyPr/>
        <a:lstStyle/>
        <a:p>
          <a:endParaRPr lang="en-US"/>
        </a:p>
      </dgm:t>
    </dgm:pt>
    <dgm:pt modelId="{03BB6895-E6B8-4B41-AABF-738B273A5A94}" type="sibTrans" cxnId="{66569407-C10E-4BF7-82D4-006D4CB51CB8}">
      <dgm:prSet/>
      <dgm:spPr/>
      <dgm:t>
        <a:bodyPr/>
        <a:lstStyle/>
        <a:p>
          <a:endParaRPr lang="en-US"/>
        </a:p>
      </dgm:t>
    </dgm:pt>
    <dgm:pt modelId="{8DBFA414-175E-45AC-AA60-BDA980AAD251}">
      <dgm:prSet custT="1"/>
      <dgm:spPr/>
      <dgm:t>
        <a:bodyPr/>
        <a:lstStyle/>
        <a:p>
          <a:r>
            <a:rPr lang="en-US" sz="3200"/>
            <a:t>ORDER BY</a:t>
          </a:r>
        </a:p>
      </dgm:t>
    </dgm:pt>
    <dgm:pt modelId="{8180C2FF-90E1-4A6D-8A38-260F08CC48D7}" type="parTrans" cxnId="{C313A103-7546-4E43-A8D0-C3472E34B3FE}">
      <dgm:prSet/>
      <dgm:spPr/>
    </dgm:pt>
    <dgm:pt modelId="{CB2C71BF-0249-4DD2-8EBB-8BFD4F444220}" type="sibTrans" cxnId="{C313A103-7546-4E43-A8D0-C3472E34B3FE}">
      <dgm:prSet/>
      <dgm:spPr/>
    </dgm:pt>
    <dgm:pt modelId="{AF055FF3-35E2-4EC8-B385-8636FBE5A720}" type="pres">
      <dgm:prSet presAssocID="{809783EE-C8DC-48AC-9D5C-4CAE49F5005B}" presName="Name0" presStyleCnt="0">
        <dgm:presLayoutVars>
          <dgm:dir/>
          <dgm:animLvl val="lvl"/>
          <dgm:resizeHandles val="exact"/>
        </dgm:presLayoutVars>
      </dgm:prSet>
      <dgm:spPr/>
    </dgm:pt>
    <dgm:pt modelId="{8C45511F-E9D1-4BCA-815D-5E8797750E44}" type="pres">
      <dgm:prSet presAssocID="{062DB11E-6A0B-40AB-812C-17A86CDD8429}" presName="composite" presStyleCnt="0"/>
      <dgm:spPr/>
    </dgm:pt>
    <dgm:pt modelId="{ED2A3C35-998A-4D4D-A369-484F2C382985}" type="pres">
      <dgm:prSet presAssocID="{062DB11E-6A0B-40AB-812C-17A86CDD8429}" presName="parTx" presStyleLbl="alignNode1" presStyleIdx="0" presStyleCnt="2" custLinFactNeighborX="-1" custLinFactNeighborY="-7589">
        <dgm:presLayoutVars>
          <dgm:chMax val="0"/>
          <dgm:chPref val="0"/>
          <dgm:bulletEnabled val="1"/>
        </dgm:presLayoutVars>
      </dgm:prSet>
      <dgm:spPr/>
    </dgm:pt>
    <dgm:pt modelId="{EE9F99AA-9E6B-433A-9905-A828FC431D84}" type="pres">
      <dgm:prSet presAssocID="{062DB11E-6A0B-40AB-812C-17A86CDD8429}" presName="desTx" presStyleLbl="alignAccFollowNode1" presStyleIdx="0" presStyleCnt="2">
        <dgm:presLayoutVars>
          <dgm:bulletEnabled val="1"/>
        </dgm:presLayoutVars>
      </dgm:prSet>
      <dgm:spPr/>
    </dgm:pt>
    <dgm:pt modelId="{2436D007-EACF-44DD-BFC8-ADCD1D8D2BAE}" type="pres">
      <dgm:prSet presAssocID="{5F0D47D6-5921-40F7-BF7A-A053288E6296}" presName="space" presStyleCnt="0"/>
      <dgm:spPr/>
    </dgm:pt>
    <dgm:pt modelId="{5EFAD680-81E3-44A2-B0D3-DE92823D6290}" type="pres">
      <dgm:prSet presAssocID="{7D7B3A8E-16CE-483F-8E80-E10667FC0778}" presName="composite" presStyleCnt="0"/>
      <dgm:spPr/>
    </dgm:pt>
    <dgm:pt modelId="{EC3DECA3-CA55-4F2F-8B79-06BE637D0969}" type="pres">
      <dgm:prSet presAssocID="{7D7B3A8E-16CE-483F-8E80-E10667FC0778}" presName="parTx" presStyleLbl="alignNode1" presStyleIdx="1" presStyleCnt="2">
        <dgm:presLayoutVars>
          <dgm:chMax val="0"/>
          <dgm:chPref val="0"/>
          <dgm:bulletEnabled val="1"/>
        </dgm:presLayoutVars>
      </dgm:prSet>
      <dgm:spPr/>
    </dgm:pt>
    <dgm:pt modelId="{93C1F735-8BC2-40E0-AD49-3805116454F4}" type="pres">
      <dgm:prSet presAssocID="{7D7B3A8E-16CE-483F-8E80-E10667FC0778}" presName="desTx" presStyleLbl="alignAccFollowNode1" presStyleIdx="1" presStyleCnt="2">
        <dgm:presLayoutVars>
          <dgm:bulletEnabled val="1"/>
        </dgm:presLayoutVars>
      </dgm:prSet>
      <dgm:spPr/>
    </dgm:pt>
  </dgm:ptLst>
  <dgm:cxnLst>
    <dgm:cxn modelId="{C313A103-7546-4E43-A8D0-C3472E34B3FE}" srcId="{062DB11E-6A0B-40AB-812C-17A86CDD8429}" destId="{8DBFA414-175E-45AC-AA60-BDA980AAD251}" srcOrd="3" destOrd="0" parTransId="{8180C2FF-90E1-4A6D-8A38-260F08CC48D7}" sibTransId="{CB2C71BF-0249-4DD2-8EBB-8BFD4F444220}"/>
    <dgm:cxn modelId="{66569407-C10E-4BF7-82D4-006D4CB51CB8}" srcId="{7D7B3A8E-16CE-483F-8E80-E10667FC0778}" destId="{34CDF609-9C14-4055-9F61-C017E5BE4495}" srcOrd="1" destOrd="0" parTransId="{82D5A85F-B7A7-45A2-9E7F-1478E913645B}" sibTransId="{03BB6895-E6B8-4B41-AABF-738B273A5A94}"/>
    <dgm:cxn modelId="{07263317-0E8D-4733-8A4B-26842364B010}" type="presOf" srcId="{D46E8E0F-50F7-4254-8A54-C9EACB4E6006}" destId="{EE9F99AA-9E6B-433A-9905-A828FC431D84}" srcOrd="0" destOrd="0" presId="urn:microsoft.com/office/officeart/2005/8/layout/hList1"/>
    <dgm:cxn modelId="{3B3D7229-BF31-4B56-9738-F09E9D7E3534}" type="presOf" srcId="{91648E82-B15A-4D63-A6E5-C8006751B377}" destId="{EE9F99AA-9E6B-433A-9905-A828FC431D84}" srcOrd="0" destOrd="1" presId="urn:microsoft.com/office/officeart/2005/8/layout/hList1"/>
    <dgm:cxn modelId="{C0869F35-E733-4AF4-98BC-EC07DCA2B9B2}" srcId="{062DB11E-6A0B-40AB-812C-17A86CDD8429}" destId="{8B192FE3-E4BB-4A9C-83C6-843AFBC05553}" srcOrd="2" destOrd="0" parTransId="{EC692493-BAF9-4BEB-A205-BBD375AB4BA8}" sibTransId="{8E5F64DB-DC0E-4F91-81B1-BC643DA0808E}"/>
    <dgm:cxn modelId="{2CAC9F6B-DA55-4AFE-A7B3-15BDFE95F258}" srcId="{7D7B3A8E-16CE-483F-8E80-E10667FC0778}" destId="{BA109083-2CC9-479A-BAE9-11E6FCF5A828}" srcOrd="0" destOrd="0" parTransId="{BB8B1A16-0BE0-4292-9395-C9064CC2D03E}" sibTransId="{39906FFA-0C93-48F0-93F8-82B9D9DEEB98}"/>
    <dgm:cxn modelId="{AD71E44B-54E8-4320-9DF2-583D1EB8D8F7}" type="presOf" srcId="{BA109083-2CC9-479A-BAE9-11E6FCF5A828}" destId="{93C1F735-8BC2-40E0-AD49-3805116454F4}" srcOrd="0" destOrd="0" presId="urn:microsoft.com/office/officeart/2005/8/layout/hList1"/>
    <dgm:cxn modelId="{C5DE2751-4788-46A0-A967-0E0BB3EC0181}" srcId="{062DB11E-6A0B-40AB-812C-17A86CDD8429}" destId="{D46E8E0F-50F7-4254-8A54-C9EACB4E6006}" srcOrd="0" destOrd="0" parTransId="{669883A7-0035-4020-89F0-20D5F07C6A82}" sibTransId="{CBF1B2BE-AD8A-4C3D-BE36-D08AEC70E0F6}"/>
    <dgm:cxn modelId="{E9DD6876-DB07-4A99-A1A5-8CBF4696BB65}" srcId="{809783EE-C8DC-48AC-9D5C-4CAE49F5005B}" destId="{062DB11E-6A0B-40AB-812C-17A86CDD8429}" srcOrd="0" destOrd="0" parTransId="{A24E625B-7A68-425A-B8B5-C32C34845604}" sibTransId="{5F0D47D6-5921-40F7-BF7A-A053288E6296}"/>
    <dgm:cxn modelId="{4749CB86-B2B2-49B0-AF82-F9E6EA215130}" type="presOf" srcId="{7D7B3A8E-16CE-483F-8E80-E10667FC0778}" destId="{EC3DECA3-CA55-4F2F-8B79-06BE637D0969}" srcOrd="0" destOrd="0" presId="urn:microsoft.com/office/officeart/2005/8/layout/hList1"/>
    <dgm:cxn modelId="{D5E30792-8E51-4813-8D2E-484B401D403C}" type="presOf" srcId="{809783EE-C8DC-48AC-9D5C-4CAE49F5005B}" destId="{AF055FF3-35E2-4EC8-B385-8636FBE5A720}" srcOrd="0" destOrd="0" presId="urn:microsoft.com/office/officeart/2005/8/layout/hList1"/>
    <dgm:cxn modelId="{25E5549D-11AF-4C64-9F7E-96856DE63E11}" srcId="{809783EE-C8DC-48AC-9D5C-4CAE49F5005B}" destId="{7D7B3A8E-16CE-483F-8E80-E10667FC0778}" srcOrd="1" destOrd="0" parTransId="{71EC94D5-0F4D-40E5-950C-C9DB2E047436}" sibTransId="{A3657B27-C239-4C6F-9EF8-8047AC11D9E3}"/>
    <dgm:cxn modelId="{20FFA6B9-34BB-4F37-A017-2D43C3D1D3A1}" type="presOf" srcId="{062DB11E-6A0B-40AB-812C-17A86CDD8429}" destId="{ED2A3C35-998A-4D4D-A369-484F2C382985}" srcOrd="0" destOrd="0" presId="urn:microsoft.com/office/officeart/2005/8/layout/hList1"/>
    <dgm:cxn modelId="{E10F7ADC-E441-4BCD-832E-471B877EFA29}" type="presOf" srcId="{8DBFA414-175E-45AC-AA60-BDA980AAD251}" destId="{EE9F99AA-9E6B-433A-9905-A828FC431D84}" srcOrd="0" destOrd="3" presId="urn:microsoft.com/office/officeart/2005/8/layout/hList1"/>
    <dgm:cxn modelId="{C7E700E6-078B-420E-9DE9-DFE555AA2177}" type="presOf" srcId="{8B192FE3-E4BB-4A9C-83C6-843AFBC05553}" destId="{EE9F99AA-9E6B-433A-9905-A828FC431D84}" srcOrd="0" destOrd="2" presId="urn:microsoft.com/office/officeart/2005/8/layout/hList1"/>
    <dgm:cxn modelId="{D90977F1-5DA6-4AAE-B64F-815187EBD387}" type="presOf" srcId="{34CDF609-9C14-4055-9F61-C017E5BE4495}" destId="{93C1F735-8BC2-40E0-AD49-3805116454F4}" srcOrd="0" destOrd="1" presId="urn:microsoft.com/office/officeart/2005/8/layout/hList1"/>
    <dgm:cxn modelId="{2E301BF2-B961-47FD-B9D1-DD951ACCE2A2}" srcId="{062DB11E-6A0B-40AB-812C-17A86CDD8429}" destId="{91648E82-B15A-4D63-A6E5-C8006751B377}" srcOrd="1" destOrd="0" parTransId="{66A453A4-C51F-43F1-96EB-883B910CCCDE}" sibTransId="{27D26D86-FF00-4294-999C-58794C3F1663}"/>
    <dgm:cxn modelId="{4FB3F9F4-15AE-4820-A1CE-AE93284E4E60}" type="presParOf" srcId="{AF055FF3-35E2-4EC8-B385-8636FBE5A720}" destId="{8C45511F-E9D1-4BCA-815D-5E8797750E44}" srcOrd="0" destOrd="0" presId="urn:microsoft.com/office/officeart/2005/8/layout/hList1"/>
    <dgm:cxn modelId="{544C3396-B3A6-4577-BA8B-7755F795AD9C}" type="presParOf" srcId="{8C45511F-E9D1-4BCA-815D-5E8797750E44}" destId="{ED2A3C35-998A-4D4D-A369-484F2C382985}" srcOrd="0" destOrd="0" presId="urn:microsoft.com/office/officeart/2005/8/layout/hList1"/>
    <dgm:cxn modelId="{52693197-DBE5-4DFB-BB31-B8DB5A6A1280}" type="presParOf" srcId="{8C45511F-E9D1-4BCA-815D-5E8797750E44}" destId="{EE9F99AA-9E6B-433A-9905-A828FC431D84}" srcOrd="1" destOrd="0" presId="urn:microsoft.com/office/officeart/2005/8/layout/hList1"/>
    <dgm:cxn modelId="{C66AA5ED-43E6-4F02-AC76-953A56A873F0}" type="presParOf" srcId="{AF055FF3-35E2-4EC8-B385-8636FBE5A720}" destId="{2436D007-EACF-44DD-BFC8-ADCD1D8D2BAE}" srcOrd="1" destOrd="0" presId="urn:microsoft.com/office/officeart/2005/8/layout/hList1"/>
    <dgm:cxn modelId="{FDD2D7D7-B644-4850-ABD3-0A247E08C4A7}" type="presParOf" srcId="{AF055FF3-35E2-4EC8-B385-8636FBE5A720}" destId="{5EFAD680-81E3-44A2-B0D3-DE92823D6290}" srcOrd="2" destOrd="0" presId="urn:microsoft.com/office/officeart/2005/8/layout/hList1"/>
    <dgm:cxn modelId="{D7E3E5DC-B4C4-4E61-B8D8-7A8067872E50}" type="presParOf" srcId="{5EFAD680-81E3-44A2-B0D3-DE92823D6290}" destId="{EC3DECA3-CA55-4F2F-8B79-06BE637D0969}" srcOrd="0" destOrd="0" presId="urn:microsoft.com/office/officeart/2005/8/layout/hList1"/>
    <dgm:cxn modelId="{BC401324-B5D6-4160-BDF6-D909CCD06366}" type="presParOf" srcId="{5EFAD680-81E3-44A2-B0D3-DE92823D6290}" destId="{93C1F735-8BC2-40E0-AD49-3805116454F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490CF12-4022-48C5-AF9D-05234D13DE01}"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5B02CAB4-3930-4D78-84B7-74D407195075}">
      <dgm:prSet/>
      <dgm:spPr/>
      <dgm:t>
        <a:bodyPr/>
        <a:lstStyle/>
        <a:p>
          <a:r>
            <a:rPr lang="en-GB" baseline="0"/>
            <a:t>Database objects </a:t>
          </a:r>
          <a:endParaRPr lang="en-US"/>
        </a:p>
      </dgm:t>
    </dgm:pt>
    <dgm:pt modelId="{6806E8F6-562B-4372-9772-840FB1008064}" type="parTrans" cxnId="{7049EF1C-C6D0-472B-8A82-4035DFD5F9C8}">
      <dgm:prSet/>
      <dgm:spPr/>
      <dgm:t>
        <a:bodyPr/>
        <a:lstStyle/>
        <a:p>
          <a:endParaRPr lang="en-US"/>
        </a:p>
      </dgm:t>
    </dgm:pt>
    <dgm:pt modelId="{9A559320-B228-47CB-A98A-5F29459C46EC}" type="sibTrans" cxnId="{7049EF1C-C6D0-472B-8A82-4035DFD5F9C8}">
      <dgm:prSet/>
      <dgm:spPr/>
      <dgm:t>
        <a:bodyPr/>
        <a:lstStyle/>
        <a:p>
          <a:endParaRPr lang="en-US"/>
        </a:p>
      </dgm:t>
    </dgm:pt>
    <dgm:pt modelId="{3BD6E30A-018A-4E5A-9E03-2D578654E298}">
      <dgm:prSet/>
      <dgm:spPr/>
      <dgm:t>
        <a:bodyPr/>
        <a:lstStyle/>
        <a:p>
          <a:r>
            <a:rPr lang="en-GB" baseline="0"/>
            <a:t>BLOBs containing statistical information</a:t>
          </a:r>
          <a:endParaRPr lang="en-US"/>
        </a:p>
      </dgm:t>
    </dgm:pt>
    <dgm:pt modelId="{970FBB4F-C731-492D-83C0-A7676569EBC4}" type="parTrans" cxnId="{A20A8CAF-C84E-4F07-9C8A-8B35D36CF9A1}">
      <dgm:prSet/>
      <dgm:spPr/>
      <dgm:t>
        <a:bodyPr/>
        <a:lstStyle/>
        <a:p>
          <a:endParaRPr lang="en-US"/>
        </a:p>
      </dgm:t>
    </dgm:pt>
    <dgm:pt modelId="{537ED8F3-6D31-4EF8-A848-AC9ACAE7ED58}" type="sibTrans" cxnId="{A20A8CAF-C84E-4F07-9C8A-8B35D36CF9A1}">
      <dgm:prSet/>
      <dgm:spPr/>
      <dgm:t>
        <a:bodyPr/>
        <a:lstStyle/>
        <a:p>
          <a:endParaRPr lang="en-US"/>
        </a:p>
      </dgm:t>
    </dgm:pt>
    <dgm:pt modelId="{01113BCF-2732-46DB-BAC8-DC15E13BFFB8}">
      <dgm:prSet/>
      <dgm:spPr/>
      <dgm:t>
        <a:bodyPr/>
        <a:lstStyle/>
        <a:p>
          <a:r>
            <a:rPr lang="en-GB" baseline="0"/>
            <a:t>Contain statistical information about the distribution of values in a column</a:t>
          </a:r>
          <a:endParaRPr lang="en-US"/>
        </a:p>
      </dgm:t>
    </dgm:pt>
    <dgm:pt modelId="{9D7AA308-A865-4D08-A5B3-A42CE82E14F3}" type="parTrans" cxnId="{FCF8F839-1006-474F-992C-FD0B203BD6EA}">
      <dgm:prSet/>
      <dgm:spPr/>
      <dgm:t>
        <a:bodyPr/>
        <a:lstStyle/>
        <a:p>
          <a:endParaRPr lang="en-US"/>
        </a:p>
      </dgm:t>
    </dgm:pt>
    <dgm:pt modelId="{1A502D4A-19DA-4D11-82BF-C3C041B6CA75}" type="sibTrans" cxnId="{FCF8F839-1006-474F-992C-FD0B203BD6EA}">
      <dgm:prSet/>
      <dgm:spPr/>
      <dgm:t>
        <a:bodyPr/>
        <a:lstStyle/>
        <a:p>
          <a:endParaRPr lang="en-US"/>
        </a:p>
      </dgm:t>
    </dgm:pt>
    <dgm:pt modelId="{49F5587D-AA88-411D-B4B1-D9632E18DE09}">
      <dgm:prSet/>
      <dgm:spPr/>
      <dgm:t>
        <a:bodyPr/>
        <a:lstStyle/>
        <a:p>
          <a:r>
            <a:rPr lang="en-GB" baseline="0"/>
            <a:t>The statistics object includes a histogram to show the distribution of values in the first column</a:t>
          </a:r>
          <a:endParaRPr lang="en-US"/>
        </a:p>
      </dgm:t>
    </dgm:pt>
    <dgm:pt modelId="{C960D2EC-F39A-4913-9B67-199FE4BA3494}" type="parTrans" cxnId="{F5D4453B-41F7-4A93-B56E-DAE8E10BC3E6}">
      <dgm:prSet/>
      <dgm:spPr/>
      <dgm:t>
        <a:bodyPr/>
        <a:lstStyle/>
        <a:p>
          <a:endParaRPr lang="en-US"/>
        </a:p>
      </dgm:t>
    </dgm:pt>
    <dgm:pt modelId="{03A0DBDA-D4F0-4FFE-AABA-9CB387745838}" type="sibTrans" cxnId="{F5D4453B-41F7-4A93-B56E-DAE8E10BC3E6}">
      <dgm:prSet/>
      <dgm:spPr/>
      <dgm:t>
        <a:bodyPr/>
        <a:lstStyle/>
        <a:p>
          <a:endParaRPr lang="en-US"/>
        </a:p>
      </dgm:t>
    </dgm:pt>
    <dgm:pt modelId="{295D2784-35F2-405E-9891-D04DAB6FF0CA}">
      <dgm:prSet/>
      <dgm:spPr/>
      <dgm:t>
        <a:bodyPr/>
        <a:lstStyle/>
        <a:p>
          <a:r>
            <a:rPr lang="en-GB" baseline="0"/>
            <a:t>Multi-column statistics can also be generated</a:t>
          </a:r>
          <a:endParaRPr lang="en-US"/>
        </a:p>
      </dgm:t>
    </dgm:pt>
    <dgm:pt modelId="{CF0779E2-A3B6-4C63-9173-E7DD51C223AA}" type="parTrans" cxnId="{7FF25ECB-C9B6-45DC-AF0D-C4C21DB947B0}">
      <dgm:prSet/>
      <dgm:spPr/>
      <dgm:t>
        <a:bodyPr/>
        <a:lstStyle/>
        <a:p>
          <a:endParaRPr lang="en-US"/>
        </a:p>
      </dgm:t>
    </dgm:pt>
    <dgm:pt modelId="{4985BCD9-839F-4AFE-A04F-AB84DF4578E3}" type="sibTrans" cxnId="{7FF25ECB-C9B6-45DC-AF0D-C4C21DB947B0}">
      <dgm:prSet/>
      <dgm:spPr/>
      <dgm:t>
        <a:bodyPr/>
        <a:lstStyle/>
        <a:p>
          <a:endParaRPr lang="en-US"/>
        </a:p>
      </dgm:t>
    </dgm:pt>
    <dgm:pt modelId="{A4BEB5A2-4AE0-4B7E-A4E7-8F8313E4A3DC}">
      <dgm:prSet/>
      <dgm:spPr/>
      <dgm:t>
        <a:bodyPr/>
        <a:lstStyle/>
        <a:p>
          <a:r>
            <a:rPr lang="en-GB" baseline="0"/>
            <a:t>These also hold density information i.e. the correlation of values between columns</a:t>
          </a:r>
          <a:endParaRPr lang="en-US"/>
        </a:p>
      </dgm:t>
    </dgm:pt>
    <dgm:pt modelId="{3EC09E68-CB7D-4D44-99B0-522F42F35753}" type="parTrans" cxnId="{9CAA2901-9DEF-4446-AA91-9D709EFA403F}">
      <dgm:prSet/>
      <dgm:spPr/>
      <dgm:t>
        <a:bodyPr/>
        <a:lstStyle/>
        <a:p>
          <a:endParaRPr lang="en-US"/>
        </a:p>
      </dgm:t>
    </dgm:pt>
    <dgm:pt modelId="{4A07EEE5-6400-49FF-8BF1-842BE48FAB2E}" type="sibTrans" cxnId="{9CAA2901-9DEF-4446-AA91-9D709EFA403F}">
      <dgm:prSet/>
      <dgm:spPr/>
      <dgm:t>
        <a:bodyPr/>
        <a:lstStyle/>
        <a:p>
          <a:endParaRPr lang="en-US"/>
        </a:p>
      </dgm:t>
    </dgm:pt>
    <dgm:pt modelId="{2EABF658-E0AB-48CB-8CA0-523C802AE9AD}" type="pres">
      <dgm:prSet presAssocID="{5490CF12-4022-48C5-AF9D-05234D13DE01}" presName="Name0" presStyleCnt="0">
        <dgm:presLayoutVars>
          <dgm:dir/>
          <dgm:animLvl val="lvl"/>
          <dgm:resizeHandles val="exact"/>
        </dgm:presLayoutVars>
      </dgm:prSet>
      <dgm:spPr/>
    </dgm:pt>
    <dgm:pt modelId="{17BB59F5-4394-4680-8B82-0AD02FEBECE2}" type="pres">
      <dgm:prSet presAssocID="{5B02CAB4-3930-4D78-84B7-74D407195075}" presName="composite" presStyleCnt="0"/>
      <dgm:spPr/>
    </dgm:pt>
    <dgm:pt modelId="{B6612047-28E3-4BF3-A23B-1B529E2865F1}" type="pres">
      <dgm:prSet presAssocID="{5B02CAB4-3930-4D78-84B7-74D407195075}" presName="parTx" presStyleLbl="alignNode1" presStyleIdx="0" presStyleCnt="3">
        <dgm:presLayoutVars>
          <dgm:chMax val="0"/>
          <dgm:chPref val="0"/>
          <dgm:bulletEnabled val="1"/>
        </dgm:presLayoutVars>
      </dgm:prSet>
      <dgm:spPr/>
    </dgm:pt>
    <dgm:pt modelId="{B1BCF032-C5A5-4AD9-9BB8-B2ECDCE99A10}" type="pres">
      <dgm:prSet presAssocID="{5B02CAB4-3930-4D78-84B7-74D407195075}" presName="desTx" presStyleLbl="alignAccFollowNode1" presStyleIdx="0" presStyleCnt="3">
        <dgm:presLayoutVars>
          <dgm:bulletEnabled val="1"/>
        </dgm:presLayoutVars>
      </dgm:prSet>
      <dgm:spPr/>
    </dgm:pt>
    <dgm:pt modelId="{B9501998-3F25-4059-B7F7-DD7C4D3D9CC2}" type="pres">
      <dgm:prSet presAssocID="{9A559320-B228-47CB-A98A-5F29459C46EC}" presName="space" presStyleCnt="0"/>
      <dgm:spPr/>
    </dgm:pt>
    <dgm:pt modelId="{3F003B26-AC62-47F8-9AA2-CE4B74A5A332}" type="pres">
      <dgm:prSet presAssocID="{01113BCF-2732-46DB-BAC8-DC15E13BFFB8}" presName="composite" presStyleCnt="0"/>
      <dgm:spPr/>
    </dgm:pt>
    <dgm:pt modelId="{260E5715-BADA-4612-9C70-A9BCD1B232C6}" type="pres">
      <dgm:prSet presAssocID="{01113BCF-2732-46DB-BAC8-DC15E13BFFB8}" presName="parTx" presStyleLbl="alignNode1" presStyleIdx="1" presStyleCnt="3">
        <dgm:presLayoutVars>
          <dgm:chMax val="0"/>
          <dgm:chPref val="0"/>
          <dgm:bulletEnabled val="1"/>
        </dgm:presLayoutVars>
      </dgm:prSet>
      <dgm:spPr/>
    </dgm:pt>
    <dgm:pt modelId="{6F447E26-2BE2-4623-9F3D-7BD7DB0D8820}" type="pres">
      <dgm:prSet presAssocID="{01113BCF-2732-46DB-BAC8-DC15E13BFFB8}" presName="desTx" presStyleLbl="alignAccFollowNode1" presStyleIdx="1" presStyleCnt="3">
        <dgm:presLayoutVars>
          <dgm:bulletEnabled val="1"/>
        </dgm:presLayoutVars>
      </dgm:prSet>
      <dgm:spPr/>
    </dgm:pt>
    <dgm:pt modelId="{6C5D13D6-921A-4805-8648-381FA488BB54}" type="pres">
      <dgm:prSet presAssocID="{1A502D4A-19DA-4D11-82BF-C3C041B6CA75}" presName="space" presStyleCnt="0"/>
      <dgm:spPr/>
    </dgm:pt>
    <dgm:pt modelId="{E74BB4A7-015F-4520-8CCA-43E85E927F98}" type="pres">
      <dgm:prSet presAssocID="{295D2784-35F2-405E-9891-D04DAB6FF0CA}" presName="composite" presStyleCnt="0"/>
      <dgm:spPr/>
    </dgm:pt>
    <dgm:pt modelId="{2F8ADDD6-C24D-4072-9EF4-2AD0DEFD7038}" type="pres">
      <dgm:prSet presAssocID="{295D2784-35F2-405E-9891-D04DAB6FF0CA}" presName="parTx" presStyleLbl="alignNode1" presStyleIdx="2" presStyleCnt="3">
        <dgm:presLayoutVars>
          <dgm:chMax val="0"/>
          <dgm:chPref val="0"/>
          <dgm:bulletEnabled val="1"/>
        </dgm:presLayoutVars>
      </dgm:prSet>
      <dgm:spPr/>
    </dgm:pt>
    <dgm:pt modelId="{AF2C71A4-12F9-4487-94A0-8E9154C1BEDD}" type="pres">
      <dgm:prSet presAssocID="{295D2784-35F2-405E-9891-D04DAB6FF0CA}" presName="desTx" presStyleLbl="alignAccFollowNode1" presStyleIdx="2" presStyleCnt="3">
        <dgm:presLayoutVars>
          <dgm:bulletEnabled val="1"/>
        </dgm:presLayoutVars>
      </dgm:prSet>
      <dgm:spPr/>
    </dgm:pt>
  </dgm:ptLst>
  <dgm:cxnLst>
    <dgm:cxn modelId="{9CAA2901-9DEF-4446-AA91-9D709EFA403F}" srcId="{295D2784-35F2-405E-9891-D04DAB6FF0CA}" destId="{A4BEB5A2-4AE0-4B7E-A4E7-8F8313E4A3DC}" srcOrd="0" destOrd="0" parTransId="{3EC09E68-CB7D-4D44-99B0-522F42F35753}" sibTransId="{4A07EEE5-6400-49FF-8BF1-842BE48FAB2E}"/>
    <dgm:cxn modelId="{D6D78B14-66E7-4A23-AB0A-91AFDF762B4A}" type="presOf" srcId="{49F5587D-AA88-411D-B4B1-D9632E18DE09}" destId="{6F447E26-2BE2-4623-9F3D-7BD7DB0D8820}" srcOrd="0" destOrd="0" presId="urn:microsoft.com/office/officeart/2005/8/layout/hList1"/>
    <dgm:cxn modelId="{CA66971B-EEA6-4039-9A1F-0C53808F6FFD}" type="presOf" srcId="{3BD6E30A-018A-4E5A-9E03-2D578654E298}" destId="{B1BCF032-C5A5-4AD9-9BB8-B2ECDCE99A10}" srcOrd="0" destOrd="0" presId="urn:microsoft.com/office/officeart/2005/8/layout/hList1"/>
    <dgm:cxn modelId="{7049EF1C-C6D0-472B-8A82-4035DFD5F9C8}" srcId="{5490CF12-4022-48C5-AF9D-05234D13DE01}" destId="{5B02CAB4-3930-4D78-84B7-74D407195075}" srcOrd="0" destOrd="0" parTransId="{6806E8F6-562B-4372-9772-840FB1008064}" sibTransId="{9A559320-B228-47CB-A98A-5F29459C46EC}"/>
    <dgm:cxn modelId="{FB837B1D-46FC-4550-A0F8-9ADB278AB60F}" type="presOf" srcId="{01113BCF-2732-46DB-BAC8-DC15E13BFFB8}" destId="{260E5715-BADA-4612-9C70-A9BCD1B232C6}" srcOrd="0" destOrd="0" presId="urn:microsoft.com/office/officeart/2005/8/layout/hList1"/>
    <dgm:cxn modelId="{FCF8F839-1006-474F-992C-FD0B203BD6EA}" srcId="{5490CF12-4022-48C5-AF9D-05234D13DE01}" destId="{01113BCF-2732-46DB-BAC8-DC15E13BFFB8}" srcOrd="1" destOrd="0" parTransId="{9D7AA308-A865-4D08-A5B3-A42CE82E14F3}" sibTransId="{1A502D4A-19DA-4D11-82BF-C3C041B6CA75}"/>
    <dgm:cxn modelId="{F5D4453B-41F7-4A93-B56E-DAE8E10BC3E6}" srcId="{01113BCF-2732-46DB-BAC8-DC15E13BFFB8}" destId="{49F5587D-AA88-411D-B4B1-D9632E18DE09}" srcOrd="0" destOrd="0" parTransId="{C960D2EC-F39A-4913-9B67-199FE4BA3494}" sibTransId="{03A0DBDA-D4F0-4FFE-AABA-9CB387745838}"/>
    <dgm:cxn modelId="{2F9A1549-2519-4873-BE5C-1D8525105C5F}" type="presOf" srcId="{5490CF12-4022-48C5-AF9D-05234D13DE01}" destId="{2EABF658-E0AB-48CB-8CA0-523C802AE9AD}" srcOrd="0" destOrd="0" presId="urn:microsoft.com/office/officeart/2005/8/layout/hList1"/>
    <dgm:cxn modelId="{C2588499-B670-45BB-A607-14FC67B99025}" type="presOf" srcId="{A4BEB5A2-4AE0-4B7E-A4E7-8F8313E4A3DC}" destId="{AF2C71A4-12F9-4487-94A0-8E9154C1BEDD}" srcOrd="0" destOrd="0" presId="urn:microsoft.com/office/officeart/2005/8/layout/hList1"/>
    <dgm:cxn modelId="{A20A8CAF-C84E-4F07-9C8A-8B35D36CF9A1}" srcId="{5B02CAB4-3930-4D78-84B7-74D407195075}" destId="{3BD6E30A-018A-4E5A-9E03-2D578654E298}" srcOrd="0" destOrd="0" parTransId="{970FBB4F-C731-492D-83C0-A7676569EBC4}" sibTransId="{537ED8F3-6D31-4EF8-A848-AC9ACAE7ED58}"/>
    <dgm:cxn modelId="{908F8BC9-FA6E-456B-A4AE-57FE945D7950}" type="presOf" srcId="{295D2784-35F2-405E-9891-D04DAB6FF0CA}" destId="{2F8ADDD6-C24D-4072-9EF4-2AD0DEFD7038}" srcOrd="0" destOrd="0" presId="urn:microsoft.com/office/officeart/2005/8/layout/hList1"/>
    <dgm:cxn modelId="{7FF25ECB-C9B6-45DC-AF0D-C4C21DB947B0}" srcId="{5490CF12-4022-48C5-AF9D-05234D13DE01}" destId="{295D2784-35F2-405E-9891-D04DAB6FF0CA}" srcOrd="2" destOrd="0" parTransId="{CF0779E2-A3B6-4C63-9173-E7DD51C223AA}" sibTransId="{4985BCD9-839F-4AFE-A04F-AB84DF4578E3}"/>
    <dgm:cxn modelId="{BE69C9D2-B3CF-443E-93D2-326EA37BBEB7}" type="presOf" srcId="{5B02CAB4-3930-4D78-84B7-74D407195075}" destId="{B6612047-28E3-4BF3-A23B-1B529E2865F1}" srcOrd="0" destOrd="0" presId="urn:microsoft.com/office/officeart/2005/8/layout/hList1"/>
    <dgm:cxn modelId="{618A5E12-CBB8-4E08-9B4A-D1F11766870A}" type="presParOf" srcId="{2EABF658-E0AB-48CB-8CA0-523C802AE9AD}" destId="{17BB59F5-4394-4680-8B82-0AD02FEBECE2}" srcOrd="0" destOrd="0" presId="urn:microsoft.com/office/officeart/2005/8/layout/hList1"/>
    <dgm:cxn modelId="{843AA968-3727-435E-A0B9-D43E24BC12CE}" type="presParOf" srcId="{17BB59F5-4394-4680-8B82-0AD02FEBECE2}" destId="{B6612047-28E3-4BF3-A23B-1B529E2865F1}" srcOrd="0" destOrd="0" presId="urn:microsoft.com/office/officeart/2005/8/layout/hList1"/>
    <dgm:cxn modelId="{D29D3121-F1BA-47CC-B9CD-F97712B573AC}" type="presParOf" srcId="{17BB59F5-4394-4680-8B82-0AD02FEBECE2}" destId="{B1BCF032-C5A5-4AD9-9BB8-B2ECDCE99A10}" srcOrd="1" destOrd="0" presId="urn:microsoft.com/office/officeart/2005/8/layout/hList1"/>
    <dgm:cxn modelId="{B1F156F2-7908-40AE-AFA0-7BE77974F3D5}" type="presParOf" srcId="{2EABF658-E0AB-48CB-8CA0-523C802AE9AD}" destId="{B9501998-3F25-4059-B7F7-DD7C4D3D9CC2}" srcOrd="1" destOrd="0" presId="urn:microsoft.com/office/officeart/2005/8/layout/hList1"/>
    <dgm:cxn modelId="{FD3148AC-9184-41B5-A85E-0B9128F3DC20}" type="presParOf" srcId="{2EABF658-E0AB-48CB-8CA0-523C802AE9AD}" destId="{3F003B26-AC62-47F8-9AA2-CE4B74A5A332}" srcOrd="2" destOrd="0" presId="urn:microsoft.com/office/officeart/2005/8/layout/hList1"/>
    <dgm:cxn modelId="{7CEAC6B1-6C60-4FF4-A4EB-461B50236B42}" type="presParOf" srcId="{3F003B26-AC62-47F8-9AA2-CE4B74A5A332}" destId="{260E5715-BADA-4612-9C70-A9BCD1B232C6}" srcOrd="0" destOrd="0" presId="urn:microsoft.com/office/officeart/2005/8/layout/hList1"/>
    <dgm:cxn modelId="{B884C665-33FF-4165-839A-C9613CE10943}" type="presParOf" srcId="{3F003B26-AC62-47F8-9AA2-CE4B74A5A332}" destId="{6F447E26-2BE2-4623-9F3D-7BD7DB0D8820}" srcOrd="1" destOrd="0" presId="urn:microsoft.com/office/officeart/2005/8/layout/hList1"/>
    <dgm:cxn modelId="{47320E2A-DD46-4EE1-9424-9399DE3288C8}" type="presParOf" srcId="{2EABF658-E0AB-48CB-8CA0-523C802AE9AD}" destId="{6C5D13D6-921A-4805-8648-381FA488BB54}" srcOrd="3" destOrd="0" presId="urn:microsoft.com/office/officeart/2005/8/layout/hList1"/>
    <dgm:cxn modelId="{8BB6C76E-17DD-4719-896B-2360B448E0C6}" type="presParOf" srcId="{2EABF658-E0AB-48CB-8CA0-523C802AE9AD}" destId="{E74BB4A7-015F-4520-8CCA-43E85E927F98}" srcOrd="4" destOrd="0" presId="urn:microsoft.com/office/officeart/2005/8/layout/hList1"/>
    <dgm:cxn modelId="{D58F3111-349C-4D0D-BA7B-350E3D37283B}" type="presParOf" srcId="{E74BB4A7-015F-4520-8CCA-43E85E927F98}" destId="{2F8ADDD6-C24D-4072-9EF4-2AD0DEFD7038}" srcOrd="0" destOrd="0" presId="urn:microsoft.com/office/officeart/2005/8/layout/hList1"/>
    <dgm:cxn modelId="{565EB185-E972-4F33-AE46-624D9EBEFAEA}" type="presParOf" srcId="{E74BB4A7-015F-4520-8CCA-43E85E927F98}" destId="{AF2C71A4-12F9-4487-94A0-8E9154C1BED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E18381-0238-4D26-BEFD-BB1789520B15}">
      <dsp:nvSpPr>
        <dsp:cNvPr id="0" name=""/>
        <dsp:cNvSpPr/>
      </dsp:nvSpPr>
      <dsp:spPr>
        <a:xfrm>
          <a:off x="7546" y="786111"/>
          <a:ext cx="3871578" cy="1548631"/>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GB" sz="3200" kern="1200" baseline="0"/>
            <a:t>To answer questions such as:</a:t>
          </a:r>
          <a:endParaRPr lang="en-US" sz="3200" kern="1200"/>
        </a:p>
      </dsp:txBody>
      <dsp:txXfrm>
        <a:off x="781862" y="786111"/>
        <a:ext cx="2322947" cy="1548631"/>
      </dsp:txXfrm>
    </dsp:sp>
    <dsp:sp modelId="{0CFA3AF8-E9CC-4A46-B192-F49A22724BC2}">
      <dsp:nvSpPr>
        <dsp:cNvPr id="0" name=""/>
        <dsp:cNvSpPr/>
      </dsp:nvSpPr>
      <dsp:spPr>
        <a:xfrm>
          <a:off x="3375820" y="917744"/>
          <a:ext cx="3213410" cy="128536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0" bIns="13335" numCol="1" spcCol="1270" anchor="ctr" anchorCtr="0">
          <a:noAutofit/>
        </a:bodyPr>
        <a:lstStyle/>
        <a:p>
          <a:pPr marL="0" lvl="0" indent="0" algn="ctr" defTabSz="933450">
            <a:lnSpc>
              <a:spcPct val="90000"/>
            </a:lnSpc>
            <a:spcBef>
              <a:spcPct val="0"/>
            </a:spcBef>
            <a:spcAft>
              <a:spcPct val="35000"/>
            </a:spcAft>
            <a:buNone/>
          </a:pPr>
          <a:r>
            <a:rPr lang="en-GB" sz="2100" kern="1200" baseline="0"/>
            <a:t># rows resulting from a filter predicate(s)?</a:t>
          </a:r>
          <a:endParaRPr lang="en-US" sz="2100" kern="1200"/>
        </a:p>
      </dsp:txBody>
      <dsp:txXfrm>
        <a:off x="4018502" y="917744"/>
        <a:ext cx="1928046" cy="1285364"/>
      </dsp:txXfrm>
    </dsp:sp>
    <dsp:sp modelId="{40F253E9-FE43-42E7-A354-3FECAA77E043}">
      <dsp:nvSpPr>
        <dsp:cNvPr id="0" name=""/>
        <dsp:cNvSpPr/>
      </dsp:nvSpPr>
      <dsp:spPr>
        <a:xfrm>
          <a:off x="6139353" y="917744"/>
          <a:ext cx="3213410" cy="128536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0" bIns="13335" numCol="1" spcCol="1270" anchor="ctr" anchorCtr="0">
          <a:noAutofit/>
        </a:bodyPr>
        <a:lstStyle/>
        <a:p>
          <a:pPr marL="0" lvl="0" indent="0" algn="ctr" defTabSz="933450">
            <a:lnSpc>
              <a:spcPct val="90000"/>
            </a:lnSpc>
            <a:spcBef>
              <a:spcPct val="0"/>
            </a:spcBef>
            <a:spcAft>
              <a:spcPct val="35000"/>
            </a:spcAft>
            <a:buNone/>
          </a:pPr>
          <a:r>
            <a:rPr lang="en-GB" sz="2100" kern="1200" baseline="0"/>
            <a:t># rows resulting from a join?</a:t>
          </a:r>
          <a:endParaRPr lang="en-US" sz="2100" kern="1200"/>
        </a:p>
      </dsp:txBody>
      <dsp:txXfrm>
        <a:off x="6782035" y="917744"/>
        <a:ext cx="1928046" cy="1285364"/>
      </dsp:txXfrm>
    </dsp:sp>
    <dsp:sp modelId="{3676A83C-3655-4DF2-B601-4A3E79D6D74A}">
      <dsp:nvSpPr>
        <dsp:cNvPr id="0" name=""/>
        <dsp:cNvSpPr/>
      </dsp:nvSpPr>
      <dsp:spPr>
        <a:xfrm>
          <a:off x="8902886" y="917744"/>
          <a:ext cx="3213410" cy="128536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13335" rIns="0" bIns="13335" numCol="1" spcCol="1270" anchor="ctr" anchorCtr="0">
          <a:noAutofit/>
        </a:bodyPr>
        <a:lstStyle/>
        <a:p>
          <a:pPr marL="0" lvl="0" indent="0" algn="ctr" defTabSz="933450">
            <a:lnSpc>
              <a:spcPct val="90000"/>
            </a:lnSpc>
            <a:spcBef>
              <a:spcPct val="0"/>
            </a:spcBef>
            <a:spcAft>
              <a:spcPct val="35000"/>
            </a:spcAft>
            <a:buNone/>
          </a:pPr>
          <a:r>
            <a:rPr lang="en-GB" sz="2100" kern="1200" baseline="0"/>
            <a:t># distinct values from a specific column(s)?</a:t>
          </a:r>
          <a:endParaRPr lang="en-US" sz="2100" kern="1200"/>
        </a:p>
      </dsp:txBody>
      <dsp:txXfrm>
        <a:off x="9545568" y="917744"/>
        <a:ext cx="1928046" cy="128536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920527-77F7-414E-9DB1-697455E5B105}">
      <dsp:nvSpPr>
        <dsp:cNvPr id="0" name=""/>
        <dsp:cNvSpPr/>
      </dsp:nvSpPr>
      <dsp:spPr>
        <a:xfrm>
          <a:off x="-5175674" y="-792786"/>
          <a:ext cx="6163404" cy="6163404"/>
        </a:xfrm>
        <a:prstGeom prst="blockArc">
          <a:avLst>
            <a:gd name="adj1" fmla="val 18900000"/>
            <a:gd name="adj2" fmla="val 2700000"/>
            <a:gd name="adj3" fmla="val 35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F13BB2-0308-4799-A9F6-12A42F4A16FF}">
      <dsp:nvSpPr>
        <dsp:cNvPr id="0" name=""/>
        <dsp:cNvSpPr/>
      </dsp:nvSpPr>
      <dsp:spPr>
        <a:xfrm>
          <a:off x="517166" y="351943"/>
          <a:ext cx="11306731" cy="70425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9001" tIns="86360" rIns="86360" bIns="86360" numCol="1" spcCol="1270" anchor="ctr" anchorCtr="0">
          <a:noAutofit/>
        </a:bodyPr>
        <a:lstStyle/>
        <a:p>
          <a:pPr marL="0" lvl="0" indent="0" algn="l" defTabSz="1511300">
            <a:lnSpc>
              <a:spcPct val="90000"/>
            </a:lnSpc>
            <a:spcBef>
              <a:spcPct val="0"/>
            </a:spcBef>
            <a:spcAft>
              <a:spcPct val="35000"/>
            </a:spcAft>
            <a:buNone/>
          </a:pPr>
          <a:r>
            <a:rPr lang="en-GB" sz="3400" kern="1200" baseline="0"/>
            <a:t>Statistical information also held on the table</a:t>
          </a:r>
          <a:endParaRPr lang="en-US" sz="3400" kern="1200"/>
        </a:p>
      </dsp:txBody>
      <dsp:txXfrm>
        <a:off x="517166" y="351943"/>
        <a:ext cx="11306731" cy="704253"/>
      </dsp:txXfrm>
    </dsp:sp>
    <dsp:sp modelId="{DF6AB6A9-0BF3-424F-999C-E7E99FFC2D7B}">
      <dsp:nvSpPr>
        <dsp:cNvPr id="0" name=""/>
        <dsp:cNvSpPr/>
      </dsp:nvSpPr>
      <dsp:spPr>
        <a:xfrm>
          <a:off x="77008" y="263911"/>
          <a:ext cx="880316" cy="88031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0E1A49-7E33-4129-B774-C632267BA0FE}">
      <dsp:nvSpPr>
        <dsp:cNvPr id="0" name=""/>
        <dsp:cNvSpPr/>
      </dsp:nvSpPr>
      <dsp:spPr>
        <a:xfrm>
          <a:off x="920931" y="1408507"/>
          <a:ext cx="10902966" cy="70425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9001" tIns="86360" rIns="86360" bIns="86360" numCol="1" spcCol="1270" anchor="ctr" anchorCtr="0">
          <a:noAutofit/>
        </a:bodyPr>
        <a:lstStyle/>
        <a:p>
          <a:pPr marL="0" lvl="0" indent="0" algn="l" defTabSz="1511300">
            <a:lnSpc>
              <a:spcPct val="90000"/>
            </a:lnSpc>
            <a:spcBef>
              <a:spcPct val="0"/>
            </a:spcBef>
            <a:spcAft>
              <a:spcPct val="35000"/>
            </a:spcAft>
            <a:buNone/>
          </a:pPr>
          <a:r>
            <a:rPr lang="en-GB" sz="3400" kern="1200" baseline="0"/>
            <a:t>Row count </a:t>
          </a:r>
          <a:endParaRPr lang="en-US" sz="3400" kern="1200"/>
        </a:p>
      </dsp:txBody>
      <dsp:txXfrm>
        <a:off x="920931" y="1408507"/>
        <a:ext cx="10902966" cy="704253"/>
      </dsp:txXfrm>
    </dsp:sp>
    <dsp:sp modelId="{CBFF5DF8-0A2A-4261-A5D2-325239C5EF76}">
      <dsp:nvSpPr>
        <dsp:cNvPr id="0" name=""/>
        <dsp:cNvSpPr/>
      </dsp:nvSpPr>
      <dsp:spPr>
        <a:xfrm>
          <a:off x="480773" y="1320475"/>
          <a:ext cx="880316" cy="88031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D1D566-7089-4CAF-AB29-22809268AE65}">
      <dsp:nvSpPr>
        <dsp:cNvPr id="0" name=""/>
        <dsp:cNvSpPr/>
      </dsp:nvSpPr>
      <dsp:spPr>
        <a:xfrm>
          <a:off x="920931" y="2465070"/>
          <a:ext cx="10902966" cy="70425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9001" tIns="86360" rIns="86360" bIns="86360" numCol="1" spcCol="1270" anchor="ctr" anchorCtr="0">
          <a:noAutofit/>
        </a:bodyPr>
        <a:lstStyle/>
        <a:p>
          <a:pPr marL="0" lvl="0" indent="0" algn="l" defTabSz="1511300">
            <a:lnSpc>
              <a:spcPct val="90000"/>
            </a:lnSpc>
            <a:spcBef>
              <a:spcPct val="0"/>
            </a:spcBef>
            <a:spcAft>
              <a:spcPct val="35000"/>
            </a:spcAft>
            <a:buNone/>
          </a:pPr>
          <a:r>
            <a:rPr lang="en-GB" sz="3400" kern="1200" baseline="0"/>
            <a:t>Page Count</a:t>
          </a:r>
          <a:endParaRPr lang="en-US" sz="3400" kern="1200"/>
        </a:p>
      </dsp:txBody>
      <dsp:txXfrm>
        <a:off x="920931" y="2465070"/>
        <a:ext cx="10902966" cy="704253"/>
      </dsp:txXfrm>
    </dsp:sp>
    <dsp:sp modelId="{C1579373-3282-4211-8404-34D6BE6B1E43}">
      <dsp:nvSpPr>
        <dsp:cNvPr id="0" name=""/>
        <dsp:cNvSpPr/>
      </dsp:nvSpPr>
      <dsp:spPr>
        <a:xfrm>
          <a:off x="480773" y="2377038"/>
          <a:ext cx="880316" cy="88031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DC92327-AFFA-4A87-8B9C-73EE242DD2E5}">
      <dsp:nvSpPr>
        <dsp:cNvPr id="0" name=""/>
        <dsp:cNvSpPr/>
      </dsp:nvSpPr>
      <dsp:spPr>
        <a:xfrm>
          <a:off x="517166" y="3521633"/>
          <a:ext cx="11306731" cy="704253"/>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9001" tIns="86360" rIns="86360" bIns="86360" numCol="1" spcCol="1270" anchor="ctr" anchorCtr="0">
          <a:noAutofit/>
        </a:bodyPr>
        <a:lstStyle/>
        <a:p>
          <a:pPr marL="0" lvl="0" indent="0" algn="l" defTabSz="1511300">
            <a:lnSpc>
              <a:spcPct val="90000"/>
            </a:lnSpc>
            <a:spcBef>
              <a:spcPct val="0"/>
            </a:spcBef>
            <a:spcAft>
              <a:spcPct val="35000"/>
            </a:spcAft>
            <a:buNone/>
          </a:pPr>
          <a:r>
            <a:rPr lang="en-GB" sz="3400" kern="1200" baseline="0"/>
            <a:t>Used to estimate the size of a given table</a:t>
          </a:r>
          <a:endParaRPr lang="en-US" sz="3400" kern="1200"/>
        </a:p>
      </dsp:txBody>
      <dsp:txXfrm>
        <a:off x="517166" y="3521633"/>
        <a:ext cx="11306731" cy="704253"/>
      </dsp:txXfrm>
    </dsp:sp>
    <dsp:sp modelId="{743B5E75-F133-4C0D-B03C-A96CAD1B81B7}">
      <dsp:nvSpPr>
        <dsp:cNvPr id="0" name=""/>
        <dsp:cNvSpPr/>
      </dsp:nvSpPr>
      <dsp:spPr>
        <a:xfrm>
          <a:off x="77008" y="3433602"/>
          <a:ext cx="880316" cy="880316"/>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E4F480-B994-4B4B-A5B9-089A8CAAD788}">
      <dsp:nvSpPr>
        <dsp:cNvPr id="0" name=""/>
        <dsp:cNvSpPr/>
      </dsp:nvSpPr>
      <dsp:spPr>
        <a:xfrm>
          <a:off x="0" y="0"/>
          <a:ext cx="10959353" cy="7979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kern="1200" baseline="0"/>
            <a:t>Header</a:t>
          </a:r>
          <a:endParaRPr lang="en-US" sz="3100" kern="1200"/>
        </a:p>
      </dsp:txBody>
      <dsp:txXfrm>
        <a:off x="38952" y="38952"/>
        <a:ext cx="10881449" cy="720036"/>
      </dsp:txXfrm>
    </dsp:sp>
    <dsp:sp modelId="{1D0B9853-922F-4123-8E7D-ABD44491D3A9}">
      <dsp:nvSpPr>
        <dsp:cNvPr id="0" name=""/>
        <dsp:cNvSpPr/>
      </dsp:nvSpPr>
      <dsp:spPr>
        <a:xfrm>
          <a:off x="0" y="867605"/>
          <a:ext cx="10959353" cy="898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959"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GB" sz="2400" kern="1200" baseline="0"/>
            <a:t>Number of rows sampled</a:t>
          </a:r>
          <a:endParaRPr lang="en-US" sz="2400" kern="1200"/>
        </a:p>
        <a:p>
          <a:pPr marL="228600" lvl="1" indent="-228600" algn="l" defTabSz="1066800">
            <a:lnSpc>
              <a:spcPct val="90000"/>
            </a:lnSpc>
            <a:spcBef>
              <a:spcPct val="0"/>
            </a:spcBef>
            <a:spcAft>
              <a:spcPct val="20000"/>
            </a:spcAft>
            <a:buChar char="•"/>
          </a:pPr>
          <a:r>
            <a:rPr lang="en-GB" sz="2400" kern="1200" baseline="0"/>
            <a:t>Date of sampling</a:t>
          </a:r>
          <a:endParaRPr lang="en-US" sz="2400" kern="1200"/>
        </a:p>
      </dsp:txBody>
      <dsp:txXfrm>
        <a:off x="0" y="867605"/>
        <a:ext cx="10959353" cy="898380"/>
      </dsp:txXfrm>
    </dsp:sp>
    <dsp:sp modelId="{86F8FC08-CE6F-4C9C-AD4B-9B881E5284AC}">
      <dsp:nvSpPr>
        <dsp:cNvPr id="0" name=""/>
        <dsp:cNvSpPr/>
      </dsp:nvSpPr>
      <dsp:spPr>
        <a:xfrm>
          <a:off x="0" y="1765985"/>
          <a:ext cx="10959353" cy="7979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kern="1200" baseline="0"/>
            <a:t>Density Vector</a:t>
          </a:r>
          <a:endParaRPr lang="en-US" sz="3100" kern="1200"/>
        </a:p>
      </dsp:txBody>
      <dsp:txXfrm>
        <a:off x="38952" y="1804937"/>
        <a:ext cx="10881449" cy="720036"/>
      </dsp:txXfrm>
    </dsp:sp>
    <dsp:sp modelId="{A53FAA51-B229-4ADF-AA6A-28EF72E20B14}">
      <dsp:nvSpPr>
        <dsp:cNvPr id="0" name=""/>
        <dsp:cNvSpPr/>
      </dsp:nvSpPr>
      <dsp:spPr>
        <a:xfrm>
          <a:off x="0" y="2563925"/>
          <a:ext cx="10959353" cy="898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959"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GB" sz="2400" kern="1200" baseline="0"/>
            <a:t>Measures the uniqueness of a column or set of columns</a:t>
          </a:r>
          <a:endParaRPr lang="en-US" sz="2400" kern="1200"/>
        </a:p>
        <a:p>
          <a:pPr marL="228600" lvl="1" indent="-228600" algn="l" defTabSz="1066800">
            <a:lnSpc>
              <a:spcPct val="90000"/>
            </a:lnSpc>
            <a:spcBef>
              <a:spcPct val="0"/>
            </a:spcBef>
            <a:spcAft>
              <a:spcPct val="20000"/>
            </a:spcAft>
            <a:buChar char="•"/>
          </a:pPr>
          <a:r>
            <a:rPr lang="en-GB" sz="2400" kern="1200" baseline="0" dirty="0"/>
            <a:t>The lower the density value the higher the uniqueness in the table</a:t>
          </a:r>
          <a:endParaRPr lang="en-US" sz="2400" kern="1200" dirty="0"/>
        </a:p>
      </dsp:txBody>
      <dsp:txXfrm>
        <a:off x="0" y="2563925"/>
        <a:ext cx="10959353" cy="898380"/>
      </dsp:txXfrm>
    </dsp:sp>
    <dsp:sp modelId="{E636F985-F03B-4B32-9DB7-95B4C115533A}">
      <dsp:nvSpPr>
        <dsp:cNvPr id="0" name=""/>
        <dsp:cNvSpPr/>
      </dsp:nvSpPr>
      <dsp:spPr>
        <a:xfrm>
          <a:off x="0" y="3462305"/>
          <a:ext cx="10959353" cy="7979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kern="1200" baseline="0"/>
            <a:t>Histogram</a:t>
          </a:r>
          <a:endParaRPr lang="en-US" sz="3100" kern="1200"/>
        </a:p>
      </dsp:txBody>
      <dsp:txXfrm>
        <a:off x="38952" y="3501257"/>
        <a:ext cx="10881449" cy="720036"/>
      </dsp:txXfrm>
    </dsp:sp>
    <dsp:sp modelId="{83D88B04-A0B0-417F-9705-75D37EFAC14C}">
      <dsp:nvSpPr>
        <dsp:cNvPr id="0" name=""/>
        <dsp:cNvSpPr/>
      </dsp:nvSpPr>
      <dsp:spPr>
        <a:xfrm>
          <a:off x="0" y="4260245"/>
          <a:ext cx="10959353" cy="898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959"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GB" sz="2400" kern="1200" baseline="0"/>
            <a:t>Distribution &amp; frequency of occurrence for distinct values in a table</a:t>
          </a:r>
          <a:endParaRPr lang="en-US" sz="2400" kern="1200"/>
        </a:p>
        <a:p>
          <a:pPr marL="228600" lvl="1" indent="-228600" algn="l" defTabSz="1066800">
            <a:lnSpc>
              <a:spcPct val="90000"/>
            </a:lnSpc>
            <a:spcBef>
              <a:spcPct val="0"/>
            </a:spcBef>
            <a:spcAft>
              <a:spcPct val="20000"/>
            </a:spcAft>
            <a:buChar char="•"/>
          </a:pPr>
          <a:r>
            <a:rPr lang="en-GB" sz="2400" kern="1200" baseline="0"/>
            <a:t>Limited to 200 steps or boundary points</a:t>
          </a:r>
          <a:endParaRPr lang="en-US" sz="2400" kern="1200"/>
        </a:p>
      </dsp:txBody>
      <dsp:txXfrm>
        <a:off x="0" y="4260245"/>
        <a:ext cx="10959353" cy="89838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8BE6E8-7F35-4423-B248-795E785BAC30}">
      <dsp:nvSpPr>
        <dsp:cNvPr id="0" name=""/>
        <dsp:cNvSpPr/>
      </dsp:nvSpPr>
      <dsp:spPr>
        <a:xfrm>
          <a:off x="0" y="0"/>
          <a:ext cx="4962292" cy="12960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kern="1200"/>
            <a:t>Supported</a:t>
          </a:r>
        </a:p>
      </dsp:txBody>
      <dsp:txXfrm>
        <a:off x="0" y="0"/>
        <a:ext cx="4962292" cy="1296000"/>
      </dsp:txXfrm>
    </dsp:sp>
    <dsp:sp modelId="{1208BE67-A419-4EEF-923B-972FE171CE09}">
      <dsp:nvSpPr>
        <dsp:cNvPr id="0" name=""/>
        <dsp:cNvSpPr/>
      </dsp:nvSpPr>
      <dsp:spPr>
        <a:xfrm>
          <a:off x="51" y="1303312"/>
          <a:ext cx="4962292" cy="234697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kern="1200" baseline="0"/>
            <a:t>CREATE STATISTICS</a:t>
          </a:r>
          <a:endParaRPr lang="en-US" sz="2000" kern="1200"/>
        </a:p>
        <a:p>
          <a:pPr marL="228600" lvl="1" indent="-228600" algn="l" defTabSz="889000">
            <a:lnSpc>
              <a:spcPct val="90000"/>
            </a:lnSpc>
            <a:spcBef>
              <a:spcPct val="0"/>
            </a:spcBef>
            <a:spcAft>
              <a:spcPct val="15000"/>
            </a:spcAft>
            <a:buChar char="•"/>
          </a:pPr>
          <a:r>
            <a:rPr lang="en-GB" sz="2000" kern="1200" baseline="0"/>
            <a:t>UPDATE STATISTICS</a:t>
          </a:r>
          <a:endParaRPr lang="en-US" sz="2000" kern="1200"/>
        </a:p>
        <a:p>
          <a:pPr marL="228600" lvl="1" indent="-228600" algn="l" defTabSz="889000">
            <a:lnSpc>
              <a:spcPct val="90000"/>
            </a:lnSpc>
            <a:spcBef>
              <a:spcPct val="0"/>
            </a:spcBef>
            <a:spcAft>
              <a:spcPct val="15000"/>
            </a:spcAft>
            <a:buChar char="•"/>
          </a:pPr>
          <a:r>
            <a:rPr lang="en-GB" sz="2000" kern="1200" baseline="0"/>
            <a:t>DROP STATISTICS</a:t>
          </a:r>
          <a:endParaRPr lang="en-US" sz="2000" kern="1200"/>
        </a:p>
        <a:p>
          <a:pPr marL="228600" lvl="1" indent="-228600" algn="l" defTabSz="889000">
            <a:lnSpc>
              <a:spcPct val="90000"/>
            </a:lnSpc>
            <a:spcBef>
              <a:spcPct val="0"/>
            </a:spcBef>
            <a:spcAft>
              <a:spcPct val="15000"/>
            </a:spcAft>
            <a:buChar char="•"/>
          </a:pPr>
          <a:r>
            <a:rPr lang="en-GB" sz="2000" kern="1200" baseline="0" err="1"/>
            <a:t>sys.stats</a:t>
          </a:r>
          <a:endParaRPr lang="en-US" sz="2000" kern="1200"/>
        </a:p>
        <a:p>
          <a:pPr marL="228600" lvl="1" indent="-228600" algn="l" defTabSz="889000">
            <a:lnSpc>
              <a:spcPct val="90000"/>
            </a:lnSpc>
            <a:spcBef>
              <a:spcPct val="0"/>
            </a:spcBef>
            <a:spcAft>
              <a:spcPct val="15000"/>
            </a:spcAft>
            <a:buChar char="•"/>
          </a:pPr>
          <a:r>
            <a:rPr lang="en-GB" sz="2000" kern="1200" baseline="0" err="1"/>
            <a:t>sys.stats_columns</a:t>
          </a:r>
          <a:endParaRPr lang="en-US" sz="2000" kern="1200"/>
        </a:p>
        <a:p>
          <a:pPr marL="228600" lvl="1" indent="-228600" algn="l" defTabSz="889000">
            <a:lnSpc>
              <a:spcPct val="90000"/>
            </a:lnSpc>
            <a:spcBef>
              <a:spcPct val="0"/>
            </a:spcBef>
            <a:spcAft>
              <a:spcPct val="15000"/>
            </a:spcAft>
            <a:buChar char="•"/>
          </a:pPr>
          <a:r>
            <a:rPr lang="en-GB" sz="2000" kern="1200" baseline="0" err="1"/>
            <a:t>sp_statistics</a:t>
          </a:r>
          <a:endParaRPr lang="en-US" sz="2000" kern="1200"/>
        </a:p>
      </dsp:txBody>
      <dsp:txXfrm>
        <a:off x="51" y="1303312"/>
        <a:ext cx="4962292" cy="2346975"/>
      </dsp:txXfrm>
    </dsp:sp>
    <dsp:sp modelId="{61757F02-7BD9-4ACB-A6A3-874C824E1160}">
      <dsp:nvSpPr>
        <dsp:cNvPr id="0" name=""/>
        <dsp:cNvSpPr/>
      </dsp:nvSpPr>
      <dsp:spPr>
        <a:xfrm>
          <a:off x="5657065" y="7312"/>
          <a:ext cx="4962292" cy="12960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kern="1200"/>
            <a:t>Unsupported</a:t>
          </a:r>
        </a:p>
      </dsp:txBody>
      <dsp:txXfrm>
        <a:off x="5657065" y="7312"/>
        <a:ext cx="4962292" cy="1296000"/>
      </dsp:txXfrm>
    </dsp:sp>
    <dsp:sp modelId="{7BDF4B25-E589-415D-B79E-B0D0032F4A10}">
      <dsp:nvSpPr>
        <dsp:cNvPr id="0" name=""/>
        <dsp:cNvSpPr/>
      </dsp:nvSpPr>
      <dsp:spPr>
        <a:xfrm>
          <a:off x="5657065" y="1303312"/>
          <a:ext cx="4962292" cy="2346975"/>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a:t>Trace Flags</a:t>
          </a:r>
        </a:p>
        <a:p>
          <a:pPr marL="228600" lvl="1" indent="-228600" algn="l" defTabSz="889000">
            <a:lnSpc>
              <a:spcPct val="90000"/>
            </a:lnSpc>
            <a:spcBef>
              <a:spcPct val="0"/>
            </a:spcBef>
            <a:spcAft>
              <a:spcPct val="15000"/>
            </a:spcAft>
            <a:buChar char="•"/>
          </a:pPr>
          <a:r>
            <a:rPr lang="en-US" sz="2000" kern="1200"/>
            <a:t>Legacy CE Model</a:t>
          </a:r>
        </a:p>
      </dsp:txBody>
      <dsp:txXfrm>
        <a:off x="5657065" y="1303312"/>
        <a:ext cx="4962292" cy="234697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A2399A-8236-4C0B-8EA6-53824F8B4C9E}">
      <dsp:nvSpPr>
        <dsp:cNvPr id="0" name=""/>
        <dsp:cNvSpPr/>
      </dsp:nvSpPr>
      <dsp:spPr>
        <a:xfrm>
          <a:off x="0" y="39572"/>
          <a:ext cx="1140167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GB" sz="2600" kern="1200" baseline="0" dirty="0"/>
            <a:t>Auto Create Statistics</a:t>
          </a:r>
          <a:endParaRPr lang="en-US" sz="2600" kern="1200" dirty="0"/>
        </a:p>
      </dsp:txBody>
      <dsp:txXfrm>
        <a:off x="32670" y="72242"/>
        <a:ext cx="11336336" cy="603900"/>
      </dsp:txXfrm>
    </dsp:sp>
    <dsp:sp modelId="{0BEEA902-48C5-46C7-A197-970550EFC4A0}">
      <dsp:nvSpPr>
        <dsp:cNvPr id="0" name=""/>
        <dsp:cNvSpPr/>
      </dsp:nvSpPr>
      <dsp:spPr>
        <a:xfrm>
          <a:off x="0" y="708812"/>
          <a:ext cx="11401676" cy="1426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200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GB" sz="2000" kern="1200" baseline="0"/>
            <a:t>Enabled by default in SQL Pools</a:t>
          </a:r>
          <a:endParaRPr lang="en-US" sz="2000" kern="1200"/>
        </a:p>
        <a:p>
          <a:pPr marL="228600" lvl="1" indent="-228600" algn="l" defTabSz="889000">
            <a:lnSpc>
              <a:spcPct val="90000"/>
            </a:lnSpc>
            <a:spcBef>
              <a:spcPct val="0"/>
            </a:spcBef>
            <a:spcAft>
              <a:spcPct val="20000"/>
            </a:spcAft>
            <a:buChar char="•"/>
          </a:pPr>
          <a:r>
            <a:rPr lang="en-GB" sz="2000" kern="1200" baseline="0"/>
            <a:t>Can be disabled if performance is impacted negatively</a:t>
          </a:r>
          <a:endParaRPr lang="en-US" sz="2000" kern="1200"/>
        </a:p>
        <a:p>
          <a:pPr marL="228600" lvl="1" indent="-228600" algn="l" defTabSz="889000">
            <a:lnSpc>
              <a:spcPct val="90000"/>
            </a:lnSpc>
            <a:spcBef>
              <a:spcPct val="0"/>
            </a:spcBef>
            <a:spcAft>
              <a:spcPct val="20000"/>
            </a:spcAft>
            <a:buChar char="•"/>
          </a:pPr>
          <a:r>
            <a:rPr lang="en-GB" sz="2000" kern="1200" baseline="0" dirty="0"/>
            <a:t>Don’t just rely on Auto Create Statistics – proactively tell your environment how it should behave so there are no surprises.</a:t>
          </a:r>
          <a:endParaRPr lang="en-US" sz="2000" kern="1200" dirty="0"/>
        </a:p>
      </dsp:txBody>
      <dsp:txXfrm>
        <a:off x="0" y="708812"/>
        <a:ext cx="11401676" cy="1426229"/>
      </dsp:txXfrm>
    </dsp:sp>
    <dsp:sp modelId="{E3CC15F3-AAB3-4408-BBCE-3822AF9DEAA7}">
      <dsp:nvSpPr>
        <dsp:cNvPr id="0" name=""/>
        <dsp:cNvSpPr/>
      </dsp:nvSpPr>
      <dsp:spPr>
        <a:xfrm>
          <a:off x="0" y="2135042"/>
          <a:ext cx="1140167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GB" sz="2600" kern="1200" baseline="0" dirty="0">
              <a:solidFill>
                <a:srgbClr val="FFFFFF"/>
              </a:solidFill>
              <a:latin typeface="Segoe UI"/>
              <a:ea typeface="+mn-ea"/>
              <a:cs typeface="+mn-cs"/>
            </a:rPr>
            <a:t>Auto Update Statistics is not currently available in SQL Pools</a:t>
          </a:r>
          <a:endParaRPr lang="en-US" sz="2600" kern="1200" baseline="0" dirty="0">
            <a:solidFill>
              <a:srgbClr val="FFFFFF"/>
            </a:solidFill>
            <a:latin typeface="Segoe UI"/>
            <a:ea typeface="+mn-ea"/>
            <a:cs typeface="+mn-cs"/>
          </a:endParaRPr>
        </a:p>
      </dsp:txBody>
      <dsp:txXfrm>
        <a:off x="32670" y="2167712"/>
        <a:ext cx="11336336" cy="6039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3C67A2-2349-4DE3-90CB-92FC2722C520}">
      <dsp:nvSpPr>
        <dsp:cNvPr id="0" name=""/>
        <dsp:cNvSpPr/>
      </dsp:nvSpPr>
      <dsp:spPr>
        <a:xfrm>
          <a:off x="-5512032" y="-843922"/>
          <a:ext cx="6562973" cy="6562973"/>
        </a:xfrm>
        <a:prstGeom prst="blockArc">
          <a:avLst>
            <a:gd name="adj1" fmla="val 18900000"/>
            <a:gd name="adj2" fmla="val 2700000"/>
            <a:gd name="adj3" fmla="val 329"/>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54A966-BCE8-4091-92ED-8AACE85FB74C}">
      <dsp:nvSpPr>
        <dsp:cNvPr id="0" name=""/>
        <dsp:cNvSpPr/>
      </dsp:nvSpPr>
      <dsp:spPr>
        <a:xfrm>
          <a:off x="550168" y="374799"/>
          <a:ext cx="11269033" cy="74998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5304" tIns="91440" rIns="91440" bIns="91440" numCol="1" spcCol="1270" anchor="ctr" anchorCtr="0">
          <a:noAutofit/>
        </a:bodyPr>
        <a:lstStyle/>
        <a:p>
          <a:pPr marL="0" lvl="0" indent="0" algn="l" defTabSz="1600200">
            <a:lnSpc>
              <a:spcPct val="90000"/>
            </a:lnSpc>
            <a:spcBef>
              <a:spcPct val="0"/>
            </a:spcBef>
            <a:spcAft>
              <a:spcPct val="35000"/>
            </a:spcAft>
            <a:buNone/>
          </a:pPr>
          <a:r>
            <a:rPr lang="en-GB" sz="3600" kern="1200" baseline="0"/>
            <a:t>Create stats immediately after table creation</a:t>
          </a:r>
          <a:endParaRPr lang="en-US" sz="3600" kern="1200"/>
        </a:p>
      </dsp:txBody>
      <dsp:txXfrm>
        <a:off x="550168" y="374799"/>
        <a:ext cx="11269033" cy="749989"/>
      </dsp:txXfrm>
    </dsp:sp>
    <dsp:sp modelId="{5105E2CB-9E14-4CD2-A594-F62A79AFB43E}">
      <dsp:nvSpPr>
        <dsp:cNvPr id="0" name=""/>
        <dsp:cNvSpPr/>
      </dsp:nvSpPr>
      <dsp:spPr>
        <a:xfrm>
          <a:off x="81425" y="281051"/>
          <a:ext cx="937487" cy="937487"/>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17F40E5-991B-4D37-907A-8B8B90D64CD2}">
      <dsp:nvSpPr>
        <dsp:cNvPr id="0" name=""/>
        <dsp:cNvSpPr/>
      </dsp:nvSpPr>
      <dsp:spPr>
        <a:xfrm>
          <a:off x="980155" y="1499979"/>
          <a:ext cx="10839047" cy="74998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5304" tIns="91440" rIns="91440" bIns="91440" numCol="1" spcCol="1270" anchor="ctr" anchorCtr="0">
          <a:noAutofit/>
        </a:bodyPr>
        <a:lstStyle/>
        <a:p>
          <a:pPr marL="0" lvl="0" indent="0" algn="l" defTabSz="1600200">
            <a:lnSpc>
              <a:spcPct val="90000"/>
            </a:lnSpc>
            <a:spcBef>
              <a:spcPct val="0"/>
            </a:spcBef>
            <a:spcAft>
              <a:spcPct val="35000"/>
            </a:spcAft>
            <a:buNone/>
          </a:pPr>
          <a:r>
            <a:rPr lang="en-GB" sz="3600" kern="1200" baseline="0"/>
            <a:t>Avoids system generated stats being created</a:t>
          </a:r>
          <a:endParaRPr lang="en-US" sz="3600" kern="1200"/>
        </a:p>
      </dsp:txBody>
      <dsp:txXfrm>
        <a:off x="980155" y="1499979"/>
        <a:ext cx="10839047" cy="749989"/>
      </dsp:txXfrm>
    </dsp:sp>
    <dsp:sp modelId="{7C960412-FFF0-4E23-A1C9-166F9BF36222}">
      <dsp:nvSpPr>
        <dsp:cNvPr id="0" name=""/>
        <dsp:cNvSpPr/>
      </dsp:nvSpPr>
      <dsp:spPr>
        <a:xfrm>
          <a:off x="511411" y="1406230"/>
          <a:ext cx="937487" cy="937487"/>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C3FA33A-7A29-42B8-B34D-9901643A268E}">
      <dsp:nvSpPr>
        <dsp:cNvPr id="0" name=""/>
        <dsp:cNvSpPr/>
      </dsp:nvSpPr>
      <dsp:spPr>
        <a:xfrm>
          <a:off x="980155" y="2625159"/>
          <a:ext cx="10839047" cy="74998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5304" tIns="91440" rIns="91440" bIns="91440" numCol="1" spcCol="1270" anchor="ctr" anchorCtr="0">
          <a:noAutofit/>
        </a:bodyPr>
        <a:lstStyle/>
        <a:p>
          <a:pPr marL="0" lvl="0" indent="0" algn="l" defTabSz="1600200">
            <a:lnSpc>
              <a:spcPct val="90000"/>
            </a:lnSpc>
            <a:spcBef>
              <a:spcPct val="0"/>
            </a:spcBef>
            <a:spcAft>
              <a:spcPct val="35000"/>
            </a:spcAft>
            <a:buNone/>
          </a:pPr>
          <a:r>
            <a:rPr lang="en-GB" sz="3600" kern="1200" baseline="0" dirty="0"/>
            <a:t>Maximizes control</a:t>
          </a:r>
          <a:endParaRPr lang="en-US" sz="3600" kern="1200" dirty="0"/>
        </a:p>
      </dsp:txBody>
      <dsp:txXfrm>
        <a:off x="980155" y="2625159"/>
        <a:ext cx="10839047" cy="749989"/>
      </dsp:txXfrm>
    </dsp:sp>
    <dsp:sp modelId="{61EAFC7E-9A67-461F-8FEC-7B6455E1680C}">
      <dsp:nvSpPr>
        <dsp:cNvPr id="0" name=""/>
        <dsp:cNvSpPr/>
      </dsp:nvSpPr>
      <dsp:spPr>
        <a:xfrm>
          <a:off x="511411" y="2531410"/>
          <a:ext cx="937487" cy="937487"/>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6989B20-2ECD-4B15-AD81-88C8F83B889B}">
      <dsp:nvSpPr>
        <dsp:cNvPr id="0" name=""/>
        <dsp:cNvSpPr/>
      </dsp:nvSpPr>
      <dsp:spPr>
        <a:xfrm>
          <a:off x="550168" y="3750339"/>
          <a:ext cx="11269033" cy="749989"/>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5304" tIns="91440" rIns="91440" bIns="91440" numCol="1" spcCol="1270" anchor="ctr" anchorCtr="0">
          <a:noAutofit/>
        </a:bodyPr>
        <a:lstStyle/>
        <a:p>
          <a:pPr marL="0" lvl="0" indent="0" algn="l" defTabSz="1600200">
            <a:lnSpc>
              <a:spcPct val="90000"/>
            </a:lnSpc>
            <a:spcBef>
              <a:spcPct val="0"/>
            </a:spcBef>
            <a:spcAft>
              <a:spcPct val="35000"/>
            </a:spcAft>
            <a:buNone/>
          </a:pPr>
          <a:r>
            <a:rPr lang="en-GB" sz="3600" kern="1200" baseline="0" dirty="0"/>
            <a:t>Maximizes consistency and predictability</a:t>
          </a:r>
          <a:endParaRPr lang="en-US" sz="3600" kern="1200" dirty="0"/>
        </a:p>
      </dsp:txBody>
      <dsp:txXfrm>
        <a:off x="550168" y="3750339"/>
        <a:ext cx="11269033" cy="749989"/>
      </dsp:txXfrm>
    </dsp:sp>
    <dsp:sp modelId="{E205D6BA-8011-47AA-BE9E-91DFDCA4BC40}">
      <dsp:nvSpPr>
        <dsp:cNvPr id="0" name=""/>
        <dsp:cNvSpPr/>
      </dsp:nvSpPr>
      <dsp:spPr>
        <a:xfrm>
          <a:off x="81425" y="3656590"/>
          <a:ext cx="937487" cy="937487"/>
        </a:xfrm>
        <a:prstGeom prst="ellipse">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16270B-A642-4E0C-953B-552521BA42F1}">
      <dsp:nvSpPr>
        <dsp:cNvPr id="0" name=""/>
        <dsp:cNvSpPr/>
      </dsp:nvSpPr>
      <dsp:spPr>
        <a:xfrm>
          <a:off x="0" y="272089"/>
          <a:ext cx="11888722" cy="67567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2697" tIns="270764" rIns="922697"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baseline="0"/>
            <a:t>Satisfy any queries fired at tables in the interim</a:t>
          </a:r>
          <a:endParaRPr lang="en-US" sz="1800" kern="1200"/>
        </a:p>
      </dsp:txBody>
      <dsp:txXfrm>
        <a:off x="0" y="272089"/>
        <a:ext cx="11888722" cy="675675"/>
      </dsp:txXfrm>
    </dsp:sp>
    <dsp:sp modelId="{41C4AA38-888F-496F-8EB0-28799C4F31A8}">
      <dsp:nvSpPr>
        <dsp:cNvPr id="0" name=""/>
        <dsp:cNvSpPr/>
      </dsp:nvSpPr>
      <dsp:spPr>
        <a:xfrm>
          <a:off x="594436" y="80209"/>
          <a:ext cx="9964889" cy="3837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4556" tIns="0" rIns="314556" bIns="0" numCol="1" spcCol="1270" anchor="ctr" anchorCtr="0">
          <a:noAutofit/>
        </a:bodyPr>
        <a:lstStyle/>
        <a:p>
          <a:pPr marL="0" lvl="0" indent="0" algn="l" defTabSz="800100">
            <a:lnSpc>
              <a:spcPct val="90000"/>
            </a:lnSpc>
            <a:spcBef>
              <a:spcPct val="0"/>
            </a:spcBef>
            <a:spcAft>
              <a:spcPct val="35000"/>
            </a:spcAft>
            <a:buNone/>
          </a:pPr>
          <a:r>
            <a:rPr lang="en-GB" sz="1800" kern="1200" baseline="0"/>
            <a:t>SQL DB may generate system statistics objects</a:t>
          </a:r>
          <a:endParaRPr lang="en-US" sz="1800" kern="1200"/>
        </a:p>
      </dsp:txBody>
      <dsp:txXfrm>
        <a:off x="613170" y="98943"/>
        <a:ext cx="9927421" cy="346292"/>
      </dsp:txXfrm>
    </dsp:sp>
    <dsp:sp modelId="{21961793-03F2-496D-82BA-C61712D042DD}">
      <dsp:nvSpPr>
        <dsp:cNvPr id="0" name=""/>
        <dsp:cNvSpPr/>
      </dsp:nvSpPr>
      <dsp:spPr>
        <a:xfrm>
          <a:off x="0" y="1209844"/>
          <a:ext cx="11888722" cy="9623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2697" tIns="270764" rIns="922697"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baseline="0"/>
            <a:t>CREATE STATISTICS will create another named statistic for a column even if a system generated stat already exists</a:t>
          </a:r>
          <a:endParaRPr lang="en-US" sz="1800" kern="1200"/>
        </a:p>
      </dsp:txBody>
      <dsp:txXfrm>
        <a:off x="0" y="1209844"/>
        <a:ext cx="11888722" cy="962325"/>
      </dsp:txXfrm>
    </dsp:sp>
    <dsp:sp modelId="{A6DD5AF8-3A35-4BDC-931A-D6C549731729}">
      <dsp:nvSpPr>
        <dsp:cNvPr id="0" name=""/>
        <dsp:cNvSpPr/>
      </dsp:nvSpPr>
      <dsp:spPr>
        <a:xfrm>
          <a:off x="594436" y="1017964"/>
          <a:ext cx="9964889" cy="3837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4556" tIns="0" rIns="314556" bIns="0" numCol="1" spcCol="1270" anchor="ctr" anchorCtr="0">
          <a:noAutofit/>
        </a:bodyPr>
        <a:lstStyle/>
        <a:p>
          <a:pPr marL="0" lvl="0" indent="0" algn="l" defTabSz="800100">
            <a:lnSpc>
              <a:spcPct val="90000"/>
            </a:lnSpc>
            <a:spcBef>
              <a:spcPct val="0"/>
            </a:spcBef>
            <a:spcAft>
              <a:spcPct val="35000"/>
            </a:spcAft>
            <a:buNone/>
          </a:pPr>
          <a:r>
            <a:rPr lang="en-GB" sz="1800" kern="1200" baseline="0"/>
            <a:t>You can end up with a user generated stat and a system generated stat on the same column</a:t>
          </a:r>
          <a:endParaRPr lang="en-US" sz="1800" kern="1200"/>
        </a:p>
      </dsp:txBody>
      <dsp:txXfrm>
        <a:off x="613170" y="1036698"/>
        <a:ext cx="9927421" cy="346292"/>
      </dsp:txXfrm>
    </dsp:sp>
    <dsp:sp modelId="{731836BD-7C86-49C1-A4D7-576824FDDD72}">
      <dsp:nvSpPr>
        <dsp:cNvPr id="0" name=""/>
        <dsp:cNvSpPr/>
      </dsp:nvSpPr>
      <dsp:spPr>
        <a:xfrm>
          <a:off x="0" y="2434249"/>
          <a:ext cx="11888722" cy="67567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2697" tIns="270764" rIns="922697"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baseline="0"/>
            <a:t>It will depend on which is the freshest stat but that could be different for each distribution</a:t>
          </a:r>
          <a:endParaRPr lang="en-US" sz="1800" kern="1200"/>
        </a:p>
      </dsp:txBody>
      <dsp:txXfrm>
        <a:off x="0" y="2434249"/>
        <a:ext cx="11888722" cy="675675"/>
      </dsp:txXfrm>
    </dsp:sp>
    <dsp:sp modelId="{4A30E308-6479-4B95-8A03-CE0FBE384CE4}">
      <dsp:nvSpPr>
        <dsp:cNvPr id="0" name=""/>
        <dsp:cNvSpPr/>
      </dsp:nvSpPr>
      <dsp:spPr>
        <a:xfrm>
          <a:off x="594436" y="2242369"/>
          <a:ext cx="9964889" cy="3837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4556" tIns="0" rIns="314556" bIns="0" numCol="1" spcCol="1270" anchor="ctr" anchorCtr="0">
          <a:noAutofit/>
        </a:bodyPr>
        <a:lstStyle/>
        <a:p>
          <a:pPr marL="0" lvl="0" indent="0" algn="l" defTabSz="800100">
            <a:lnSpc>
              <a:spcPct val="90000"/>
            </a:lnSpc>
            <a:spcBef>
              <a:spcPct val="0"/>
            </a:spcBef>
            <a:spcAft>
              <a:spcPct val="35000"/>
            </a:spcAft>
            <a:buNone/>
          </a:pPr>
          <a:r>
            <a:rPr lang="en-GB" sz="1800" kern="1200" baseline="0"/>
            <a:t>You won’t know which statistic is used to resolve the SMP query</a:t>
          </a:r>
          <a:endParaRPr lang="en-US" sz="1800" kern="1200"/>
        </a:p>
      </dsp:txBody>
      <dsp:txXfrm>
        <a:off x="613170" y="2261103"/>
        <a:ext cx="9927421" cy="346292"/>
      </dsp:txXfrm>
    </dsp:sp>
    <dsp:sp modelId="{03C31743-79E5-40E9-AA3C-CA13450DAB3C}">
      <dsp:nvSpPr>
        <dsp:cNvPr id="0" name=""/>
        <dsp:cNvSpPr/>
      </dsp:nvSpPr>
      <dsp:spPr>
        <a:xfrm>
          <a:off x="0" y="3372004"/>
          <a:ext cx="11888722" cy="9623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2697" tIns="270764" rIns="922697"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baseline="0" dirty="0"/>
            <a:t>Worst case (all columns having both system and user generated statistics) this process will now take twice as long</a:t>
          </a:r>
          <a:endParaRPr lang="en-US" sz="1800" kern="1200" dirty="0"/>
        </a:p>
      </dsp:txBody>
      <dsp:txXfrm>
        <a:off x="0" y="3372004"/>
        <a:ext cx="11888722" cy="962325"/>
      </dsp:txXfrm>
    </dsp:sp>
    <dsp:sp modelId="{4D832976-5706-4E25-958B-CCB63433FEF4}">
      <dsp:nvSpPr>
        <dsp:cNvPr id="0" name=""/>
        <dsp:cNvSpPr/>
      </dsp:nvSpPr>
      <dsp:spPr>
        <a:xfrm>
          <a:off x="594436" y="3180124"/>
          <a:ext cx="9964889" cy="3837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4556" tIns="0" rIns="314556" bIns="0" numCol="1" spcCol="1270" anchor="ctr" anchorCtr="0">
          <a:noAutofit/>
        </a:bodyPr>
        <a:lstStyle/>
        <a:p>
          <a:pPr marL="0" lvl="0" indent="0" algn="l" defTabSz="800100">
            <a:lnSpc>
              <a:spcPct val="90000"/>
            </a:lnSpc>
            <a:spcBef>
              <a:spcPct val="0"/>
            </a:spcBef>
            <a:spcAft>
              <a:spcPct val="35000"/>
            </a:spcAft>
            <a:buNone/>
          </a:pPr>
          <a:r>
            <a:rPr lang="en-GB" sz="1800" kern="1200" baseline="0"/>
            <a:t>UPDATE STATISTICS &lt;Table_name&gt; updates statistics </a:t>
          </a:r>
          <a:r>
            <a:rPr lang="en-GB" sz="1800" u="sng" kern="1200" baseline="0"/>
            <a:t>in series</a:t>
          </a:r>
          <a:endParaRPr lang="en-US" sz="1800" kern="1200"/>
        </a:p>
      </dsp:txBody>
      <dsp:txXfrm>
        <a:off x="613170" y="3198858"/>
        <a:ext cx="9927421" cy="346292"/>
      </dsp:txXfrm>
    </dsp:sp>
    <dsp:sp modelId="{0682547F-EA14-4337-8DF5-F13181FFEFAF}">
      <dsp:nvSpPr>
        <dsp:cNvPr id="0" name=""/>
        <dsp:cNvSpPr/>
      </dsp:nvSpPr>
      <dsp:spPr>
        <a:xfrm>
          <a:off x="0" y="4596409"/>
          <a:ext cx="11888722" cy="67567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2697" tIns="270764" rIns="922697" bIns="128016" numCol="1" spcCol="1270" anchor="t" anchorCtr="0">
          <a:noAutofit/>
        </a:bodyPr>
        <a:lstStyle/>
        <a:p>
          <a:pPr marL="171450" lvl="1" indent="-171450" algn="l" defTabSz="800100">
            <a:lnSpc>
              <a:spcPct val="90000"/>
            </a:lnSpc>
            <a:spcBef>
              <a:spcPct val="0"/>
            </a:spcBef>
            <a:spcAft>
              <a:spcPct val="15000"/>
            </a:spcAft>
            <a:buChar char="•"/>
          </a:pPr>
          <a:r>
            <a:rPr lang="en-GB" sz="1800" kern="1200" baseline="0"/>
            <a:t>To get rid of system generated stats you must CTAS to a new table</a:t>
          </a:r>
          <a:endParaRPr lang="en-US" sz="1800" kern="1200"/>
        </a:p>
      </dsp:txBody>
      <dsp:txXfrm>
        <a:off x="0" y="4596409"/>
        <a:ext cx="11888722" cy="675675"/>
      </dsp:txXfrm>
    </dsp:sp>
    <dsp:sp modelId="{AFED09B8-91B5-415D-BAEB-17231A3F0616}">
      <dsp:nvSpPr>
        <dsp:cNvPr id="0" name=""/>
        <dsp:cNvSpPr/>
      </dsp:nvSpPr>
      <dsp:spPr>
        <a:xfrm>
          <a:off x="594436" y="4404529"/>
          <a:ext cx="9964889" cy="3837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4556" tIns="0" rIns="314556" bIns="0" numCol="1" spcCol="1270" anchor="ctr" anchorCtr="0">
          <a:noAutofit/>
        </a:bodyPr>
        <a:lstStyle/>
        <a:p>
          <a:pPr marL="0" lvl="0" indent="0" algn="l" defTabSz="800100">
            <a:lnSpc>
              <a:spcPct val="90000"/>
            </a:lnSpc>
            <a:spcBef>
              <a:spcPct val="0"/>
            </a:spcBef>
            <a:spcAft>
              <a:spcPct val="35000"/>
            </a:spcAft>
            <a:buNone/>
          </a:pPr>
          <a:r>
            <a:rPr lang="en-GB" sz="1800" kern="1200" baseline="0"/>
            <a:t>You cannot delete the system generated statistic</a:t>
          </a:r>
          <a:endParaRPr lang="en-US" sz="1800" kern="1200"/>
        </a:p>
      </dsp:txBody>
      <dsp:txXfrm>
        <a:off x="613170" y="4423263"/>
        <a:ext cx="9927421" cy="34629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F18A78-D10D-4B52-8258-39F049BB54C9}">
      <dsp:nvSpPr>
        <dsp:cNvPr id="0" name=""/>
        <dsp:cNvSpPr/>
      </dsp:nvSpPr>
      <dsp:spPr>
        <a:xfrm>
          <a:off x="0" y="820569"/>
          <a:ext cx="2972390" cy="97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91440" rIns="256032" bIns="91440" numCol="1" spcCol="1270" anchor="ctr" anchorCtr="0">
          <a:noAutofit/>
        </a:bodyPr>
        <a:lstStyle/>
        <a:p>
          <a:pPr marL="0" lvl="0" indent="0" algn="r" defTabSz="1600200">
            <a:lnSpc>
              <a:spcPct val="90000"/>
            </a:lnSpc>
            <a:spcBef>
              <a:spcPct val="0"/>
            </a:spcBef>
            <a:spcAft>
              <a:spcPct val="35000"/>
            </a:spcAft>
            <a:buNone/>
          </a:pPr>
          <a:r>
            <a:rPr lang="en-US" sz="3600" kern="1200"/>
            <a:t>Optimistic</a:t>
          </a:r>
          <a:endParaRPr lang="en-US" sz="3200" kern="1200"/>
        </a:p>
      </dsp:txBody>
      <dsp:txXfrm>
        <a:off x="0" y="820569"/>
        <a:ext cx="2972390" cy="970200"/>
      </dsp:txXfrm>
    </dsp:sp>
    <dsp:sp modelId="{F21C6071-C620-4D3F-967D-ACE72E287201}">
      <dsp:nvSpPr>
        <dsp:cNvPr id="0" name=""/>
        <dsp:cNvSpPr/>
      </dsp:nvSpPr>
      <dsp:spPr>
        <a:xfrm>
          <a:off x="2972390" y="1963"/>
          <a:ext cx="594478" cy="2607412"/>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0ED08D-C4A4-49FE-AA00-B61A12A4C6AD}">
      <dsp:nvSpPr>
        <dsp:cNvPr id="0" name=""/>
        <dsp:cNvSpPr/>
      </dsp:nvSpPr>
      <dsp:spPr>
        <a:xfrm>
          <a:off x="3804660" y="1963"/>
          <a:ext cx="8084902" cy="260741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GB" sz="2000" kern="1200" baseline="0"/>
            <a:t>Used for controlled workloads</a:t>
          </a:r>
          <a:endParaRPr lang="en-US" sz="2000" kern="1200"/>
        </a:p>
        <a:p>
          <a:pPr marL="228600" lvl="1" indent="-228600" algn="l" defTabSz="889000">
            <a:lnSpc>
              <a:spcPct val="90000"/>
            </a:lnSpc>
            <a:spcBef>
              <a:spcPct val="0"/>
            </a:spcBef>
            <a:spcAft>
              <a:spcPct val="15000"/>
            </a:spcAft>
            <a:buChar char="•"/>
          </a:pPr>
          <a:r>
            <a:rPr lang="en-GB" sz="2000" kern="1200" baseline="0"/>
            <a:t>Cover columns used by following clauses</a:t>
          </a:r>
          <a:endParaRPr lang="en-US" sz="2000" kern="1200"/>
        </a:p>
        <a:p>
          <a:pPr marL="457200" lvl="2" indent="-228600" algn="l" defTabSz="889000">
            <a:lnSpc>
              <a:spcPct val="90000"/>
            </a:lnSpc>
            <a:spcBef>
              <a:spcPct val="0"/>
            </a:spcBef>
            <a:spcAft>
              <a:spcPct val="15000"/>
            </a:spcAft>
            <a:buChar char="•"/>
          </a:pPr>
          <a:r>
            <a:rPr lang="en-GB" sz="2000" kern="1200" baseline="0"/>
            <a:t>WHERE</a:t>
          </a:r>
          <a:endParaRPr lang="en-US" sz="2000" kern="1200"/>
        </a:p>
        <a:p>
          <a:pPr marL="457200" lvl="2" indent="-228600" algn="l" defTabSz="889000">
            <a:lnSpc>
              <a:spcPct val="90000"/>
            </a:lnSpc>
            <a:spcBef>
              <a:spcPct val="0"/>
            </a:spcBef>
            <a:spcAft>
              <a:spcPct val="15000"/>
            </a:spcAft>
            <a:buChar char="•"/>
          </a:pPr>
          <a:r>
            <a:rPr lang="en-GB" sz="2000" kern="1200" baseline="0"/>
            <a:t>JOIN</a:t>
          </a:r>
          <a:endParaRPr lang="en-US" sz="2000" kern="1200"/>
        </a:p>
        <a:p>
          <a:pPr marL="457200" lvl="2" indent="-228600" algn="l" defTabSz="889000">
            <a:lnSpc>
              <a:spcPct val="90000"/>
            </a:lnSpc>
            <a:spcBef>
              <a:spcPct val="0"/>
            </a:spcBef>
            <a:spcAft>
              <a:spcPct val="15000"/>
            </a:spcAft>
            <a:buChar char="•"/>
          </a:pPr>
          <a:r>
            <a:rPr lang="en-GB" sz="2000" kern="1200" baseline="0"/>
            <a:t>GROUP BY</a:t>
          </a:r>
          <a:endParaRPr lang="en-US" sz="2000" kern="1200"/>
        </a:p>
        <a:p>
          <a:pPr marL="457200" lvl="2" indent="-228600" algn="l" defTabSz="889000">
            <a:lnSpc>
              <a:spcPct val="90000"/>
            </a:lnSpc>
            <a:spcBef>
              <a:spcPct val="0"/>
            </a:spcBef>
            <a:spcAft>
              <a:spcPct val="15000"/>
            </a:spcAft>
            <a:buChar char="•"/>
          </a:pPr>
          <a:r>
            <a:rPr lang="en-GB" sz="2000" kern="1200" baseline="0"/>
            <a:t>ORDER BY</a:t>
          </a:r>
          <a:endParaRPr lang="en-US" sz="2000" kern="1200"/>
        </a:p>
        <a:p>
          <a:pPr marL="457200" lvl="2" indent="-228600" algn="l" defTabSz="889000">
            <a:lnSpc>
              <a:spcPct val="90000"/>
            </a:lnSpc>
            <a:spcBef>
              <a:spcPct val="0"/>
            </a:spcBef>
            <a:spcAft>
              <a:spcPct val="15000"/>
            </a:spcAft>
            <a:buChar char="•"/>
          </a:pPr>
          <a:r>
            <a:rPr lang="en-GB" sz="2000" kern="1200" baseline="0"/>
            <a:t>DISTINCT</a:t>
          </a:r>
          <a:endParaRPr lang="en-US" sz="2000" kern="1200"/>
        </a:p>
      </dsp:txBody>
      <dsp:txXfrm>
        <a:off x="3804660" y="1963"/>
        <a:ext cx="8084902" cy="2607412"/>
      </dsp:txXfrm>
    </dsp:sp>
    <dsp:sp modelId="{C5C49A5D-E105-4DBA-B9B4-79322A425C1E}">
      <dsp:nvSpPr>
        <dsp:cNvPr id="0" name=""/>
        <dsp:cNvSpPr/>
      </dsp:nvSpPr>
      <dsp:spPr>
        <a:xfrm>
          <a:off x="0" y="2785775"/>
          <a:ext cx="2972390" cy="97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91440" rIns="256032" bIns="91440" numCol="1" spcCol="1270" anchor="ctr" anchorCtr="0">
          <a:noAutofit/>
        </a:bodyPr>
        <a:lstStyle/>
        <a:p>
          <a:pPr marL="0" lvl="0" indent="0" algn="r" defTabSz="1600200">
            <a:lnSpc>
              <a:spcPct val="90000"/>
            </a:lnSpc>
            <a:spcBef>
              <a:spcPct val="0"/>
            </a:spcBef>
            <a:spcAft>
              <a:spcPct val="35000"/>
            </a:spcAft>
            <a:buNone/>
          </a:pPr>
          <a:r>
            <a:rPr lang="en-US" sz="3600" kern="1200"/>
            <a:t>Pessimistic</a:t>
          </a:r>
          <a:endParaRPr lang="en-US" sz="2100" kern="1200"/>
        </a:p>
      </dsp:txBody>
      <dsp:txXfrm>
        <a:off x="0" y="2785775"/>
        <a:ext cx="2972390" cy="970200"/>
      </dsp:txXfrm>
    </dsp:sp>
    <dsp:sp modelId="{89BE5319-CC31-4067-9AFE-4B030593A593}">
      <dsp:nvSpPr>
        <dsp:cNvPr id="0" name=""/>
        <dsp:cNvSpPr/>
      </dsp:nvSpPr>
      <dsp:spPr>
        <a:xfrm>
          <a:off x="2972390" y="2785775"/>
          <a:ext cx="594478" cy="970200"/>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014CB67-B5BB-4D62-BEF3-D68D3C67BA5F}">
      <dsp:nvSpPr>
        <dsp:cNvPr id="0" name=""/>
        <dsp:cNvSpPr/>
      </dsp:nvSpPr>
      <dsp:spPr>
        <a:xfrm>
          <a:off x="3804660" y="2785775"/>
          <a:ext cx="8084902" cy="97020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Used for Ad-hoc workloads</a:t>
          </a:r>
        </a:p>
        <a:p>
          <a:pPr marL="228600" lvl="1" indent="-228600" algn="l" defTabSz="889000">
            <a:lnSpc>
              <a:spcPct val="90000"/>
            </a:lnSpc>
            <a:spcBef>
              <a:spcPct val="0"/>
            </a:spcBef>
            <a:spcAft>
              <a:spcPct val="15000"/>
            </a:spcAft>
            <a:buChar char="•"/>
          </a:pPr>
          <a:r>
            <a:rPr lang="en-GB" sz="2000" kern="1200"/>
            <a:t>One stat object on every column</a:t>
          </a:r>
        </a:p>
      </dsp:txBody>
      <dsp:txXfrm>
        <a:off x="3804660" y="2785775"/>
        <a:ext cx="8084902" cy="9702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3F4C02-1E84-46D9-87FB-1E211DEC9662}">
      <dsp:nvSpPr>
        <dsp:cNvPr id="0" name=""/>
        <dsp:cNvSpPr/>
      </dsp:nvSpPr>
      <dsp:spPr>
        <a:xfrm rot="5400000">
          <a:off x="3693412" y="-1310440"/>
          <a:ext cx="1092021" cy="3990045"/>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baseline="0"/>
            <a:t>Equality join predicates only</a:t>
          </a:r>
          <a:endParaRPr lang="en-US" sz="1800" kern="1200"/>
        </a:p>
        <a:p>
          <a:pPr marL="171450" lvl="1" indent="-171450" algn="l" defTabSz="800100">
            <a:lnSpc>
              <a:spcPct val="90000"/>
            </a:lnSpc>
            <a:spcBef>
              <a:spcPct val="0"/>
            </a:spcBef>
            <a:spcAft>
              <a:spcPct val="15000"/>
            </a:spcAft>
            <a:buChar char="•"/>
          </a:pPr>
          <a:r>
            <a:rPr lang="en-GB" sz="1800" kern="1200" baseline="0"/>
            <a:t>Avoids nested loop plans on SMP</a:t>
          </a:r>
          <a:endParaRPr lang="en-US" sz="1800" kern="1200"/>
        </a:p>
      </dsp:txBody>
      <dsp:txXfrm rot="-5400000">
        <a:off x="2244400" y="191880"/>
        <a:ext cx="3936737" cy="985405"/>
      </dsp:txXfrm>
    </dsp:sp>
    <dsp:sp modelId="{0A7E6417-C092-4FE1-AA0E-76393EB3AC4B}">
      <dsp:nvSpPr>
        <dsp:cNvPr id="0" name=""/>
        <dsp:cNvSpPr/>
      </dsp:nvSpPr>
      <dsp:spPr>
        <a:xfrm>
          <a:off x="0" y="2068"/>
          <a:ext cx="2244400" cy="13650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baseline="0"/>
            <a:t>Composite Joins </a:t>
          </a:r>
          <a:endParaRPr lang="en-US" sz="2800" kern="1200"/>
        </a:p>
      </dsp:txBody>
      <dsp:txXfrm>
        <a:off x="66635" y="68703"/>
        <a:ext cx="2111130" cy="1231757"/>
      </dsp:txXfrm>
    </dsp:sp>
    <dsp:sp modelId="{12E05DDD-F014-4D7C-94A1-FCCDD928838A}">
      <dsp:nvSpPr>
        <dsp:cNvPr id="0" name=""/>
        <dsp:cNvSpPr/>
      </dsp:nvSpPr>
      <dsp:spPr>
        <a:xfrm rot="5400000">
          <a:off x="3693412" y="122837"/>
          <a:ext cx="1092021" cy="3990045"/>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baseline="0" dirty="0"/>
            <a:t>Improves Cardinality Estimate of Aggregation</a:t>
          </a:r>
          <a:endParaRPr lang="en-US" sz="1800" kern="1200" dirty="0"/>
        </a:p>
      </dsp:txBody>
      <dsp:txXfrm rot="-5400000">
        <a:off x="2244400" y="1625157"/>
        <a:ext cx="3936737" cy="985405"/>
      </dsp:txXfrm>
    </dsp:sp>
    <dsp:sp modelId="{B6F22B52-8209-4CCD-9135-9344DB70F171}">
      <dsp:nvSpPr>
        <dsp:cNvPr id="0" name=""/>
        <dsp:cNvSpPr/>
      </dsp:nvSpPr>
      <dsp:spPr>
        <a:xfrm>
          <a:off x="0" y="1435346"/>
          <a:ext cx="2244400" cy="13650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baseline="0"/>
            <a:t>Composite Group By</a:t>
          </a:r>
          <a:endParaRPr lang="en-US" sz="2800" kern="1200"/>
        </a:p>
      </dsp:txBody>
      <dsp:txXfrm>
        <a:off x="66635" y="1501981"/>
        <a:ext cx="2111130" cy="1231757"/>
      </dsp:txXfrm>
    </dsp:sp>
    <dsp:sp modelId="{B322FCE6-7D1E-4765-B3DE-B6802FEBD404}">
      <dsp:nvSpPr>
        <dsp:cNvPr id="0" name=""/>
        <dsp:cNvSpPr/>
      </dsp:nvSpPr>
      <dsp:spPr>
        <a:xfrm rot="5400000">
          <a:off x="3693412" y="1556116"/>
          <a:ext cx="1092021" cy="3990045"/>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baseline="0"/>
            <a:t>Reduces Cardinality Estimate for large distinct counts</a:t>
          </a:r>
          <a:endParaRPr lang="en-US" sz="1800" kern="1200"/>
        </a:p>
      </dsp:txBody>
      <dsp:txXfrm rot="-5400000">
        <a:off x="2244400" y="3058436"/>
        <a:ext cx="3936737" cy="985405"/>
      </dsp:txXfrm>
    </dsp:sp>
    <dsp:sp modelId="{FC68250F-127F-4CAB-BBB3-BD61636FC059}">
      <dsp:nvSpPr>
        <dsp:cNvPr id="0" name=""/>
        <dsp:cNvSpPr/>
      </dsp:nvSpPr>
      <dsp:spPr>
        <a:xfrm>
          <a:off x="0" y="2868625"/>
          <a:ext cx="2244400" cy="136502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baseline="0"/>
            <a:t>Distinct Count</a:t>
          </a:r>
          <a:endParaRPr lang="en-US" sz="2800" kern="1200"/>
        </a:p>
      </dsp:txBody>
      <dsp:txXfrm>
        <a:off x="66635" y="2935260"/>
        <a:ext cx="2111130" cy="123175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7E6417-C092-4FE1-AA0E-76393EB3AC4B}">
      <dsp:nvSpPr>
        <dsp:cNvPr id="0" name=""/>
        <dsp:cNvSpPr/>
      </dsp:nvSpPr>
      <dsp:spPr>
        <a:xfrm>
          <a:off x="0" y="7582"/>
          <a:ext cx="2538996" cy="1361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baseline="0"/>
            <a:t>Composite Filters </a:t>
          </a:r>
          <a:endParaRPr lang="en-US" sz="2800" kern="1200"/>
        </a:p>
      </dsp:txBody>
      <dsp:txXfrm>
        <a:off x="66444" y="74026"/>
        <a:ext cx="2406108" cy="122823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591E8F-D456-42B6-9634-5FA68956A8F5}">
      <dsp:nvSpPr>
        <dsp:cNvPr id="0" name=""/>
        <dsp:cNvSpPr/>
      </dsp:nvSpPr>
      <dsp:spPr>
        <a:xfrm>
          <a:off x="0" y="474666"/>
          <a:ext cx="10977889" cy="680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1735EF-5A29-4561-87A6-A390DD33D4AB}">
      <dsp:nvSpPr>
        <dsp:cNvPr id="0" name=""/>
        <dsp:cNvSpPr/>
      </dsp:nvSpPr>
      <dsp:spPr>
        <a:xfrm>
          <a:off x="548894" y="76146"/>
          <a:ext cx="7684523" cy="7970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457" tIns="0" rIns="290457" bIns="0" numCol="1" spcCol="1270" anchor="ctr" anchorCtr="0">
          <a:noAutofit/>
        </a:bodyPr>
        <a:lstStyle/>
        <a:p>
          <a:pPr marL="0" lvl="0" indent="0" algn="l" defTabSz="1200150">
            <a:lnSpc>
              <a:spcPct val="90000"/>
            </a:lnSpc>
            <a:spcBef>
              <a:spcPct val="0"/>
            </a:spcBef>
            <a:spcAft>
              <a:spcPct val="35000"/>
            </a:spcAft>
            <a:buNone/>
          </a:pPr>
          <a:r>
            <a:rPr lang="en-GB" sz="2700" kern="1200" baseline="0"/>
            <a:t>Each Histogram is limited to 200 steps</a:t>
          </a:r>
          <a:endParaRPr lang="en-US" sz="2700" kern="1200"/>
        </a:p>
      </dsp:txBody>
      <dsp:txXfrm>
        <a:off x="587802" y="115054"/>
        <a:ext cx="7606707" cy="719224"/>
      </dsp:txXfrm>
    </dsp:sp>
    <dsp:sp modelId="{DDD47B65-298F-49FA-AAC6-7DC885D78539}">
      <dsp:nvSpPr>
        <dsp:cNvPr id="0" name=""/>
        <dsp:cNvSpPr/>
      </dsp:nvSpPr>
      <dsp:spPr>
        <a:xfrm>
          <a:off x="0" y="1699387"/>
          <a:ext cx="10977889" cy="680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582BBD8-E11B-4137-95FF-36F7F54B4938}">
      <dsp:nvSpPr>
        <dsp:cNvPr id="0" name=""/>
        <dsp:cNvSpPr/>
      </dsp:nvSpPr>
      <dsp:spPr>
        <a:xfrm>
          <a:off x="548894" y="1300867"/>
          <a:ext cx="7684523" cy="7970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457" tIns="0" rIns="290457" bIns="0" numCol="1" spcCol="1270" anchor="ctr" anchorCtr="0">
          <a:noAutofit/>
        </a:bodyPr>
        <a:lstStyle/>
        <a:p>
          <a:pPr marL="0" lvl="0" indent="0" algn="l" defTabSz="1200150">
            <a:lnSpc>
              <a:spcPct val="90000"/>
            </a:lnSpc>
            <a:spcBef>
              <a:spcPct val="0"/>
            </a:spcBef>
            <a:spcAft>
              <a:spcPct val="35000"/>
            </a:spcAft>
            <a:buNone/>
          </a:pPr>
          <a:r>
            <a:rPr lang="en-GB" sz="2700" kern="1200" baseline="0"/>
            <a:t>Create &gt; 1 stat object per column using filters</a:t>
          </a:r>
          <a:endParaRPr lang="en-US" sz="2700" kern="1200"/>
        </a:p>
      </dsp:txBody>
      <dsp:txXfrm>
        <a:off x="587802" y="1339775"/>
        <a:ext cx="7606707" cy="719224"/>
      </dsp:txXfrm>
    </dsp:sp>
    <dsp:sp modelId="{53D9E7F1-0F5A-4AC7-9CF1-CEE8CA9CAB01}">
      <dsp:nvSpPr>
        <dsp:cNvPr id="0" name=""/>
        <dsp:cNvSpPr/>
      </dsp:nvSpPr>
      <dsp:spPr>
        <a:xfrm>
          <a:off x="0" y="2924107"/>
          <a:ext cx="10977889" cy="1701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2006" tIns="562356" rIns="852006" bIns="199136" numCol="1" spcCol="1270" anchor="t" anchorCtr="0">
          <a:noAutofit/>
        </a:bodyPr>
        <a:lstStyle/>
        <a:p>
          <a:pPr marL="285750" lvl="1" indent="-285750" algn="l" defTabSz="1244600">
            <a:lnSpc>
              <a:spcPct val="90000"/>
            </a:lnSpc>
            <a:spcBef>
              <a:spcPct val="0"/>
            </a:spcBef>
            <a:spcAft>
              <a:spcPct val="15000"/>
            </a:spcAft>
            <a:buChar char="•"/>
          </a:pPr>
          <a:r>
            <a:rPr lang="en-GB" sz="2800" kern="1200" baseline="0"/>
            <a:t>by partition </a:t>
          </a:r>
          <a:endParaRPr lang="en-US" sz="2800" kern="1200"/>
        </a:p>
        <a:p>
          <a:pPr marL="285750" lvl="1" indent="-285750" algn="l" defTabSz="1244600">
            <a:lnSpc>
              <a:spcPct val="90000"/>
            </a:lnSpc>
            <a:spcBef>
              <a:spcPct val="0"/>
            </a:spcBef>
            <a:spcAft>
              <a:spcPct val="15000"/>
            </a:spcAft>
            <a:buChar char="•"/>
          </a:pPr>
          <a:r>
            <a:rPr lang="en-GB" sz="2800" kern="1200" baseline="0"/>
            <a:t>query range</a:t>
          </a:r>
          <a:endParaRPr lang="en-US" sz="2800" kern="1200"/>
        </a:p>
      </dsp:txBody>
      <dsp:txXfrm>
        <a:off x="0" y="2924107"/>
        <a:ext cx="10977889" cy="1701000"/>
      </dsp:txXfrm>
    </dsp:sp>
    <dsp:sp modelId="{9FB3BA90-1E32-4593-BFF8-7C9D4FBA1EEB}">
      <dsp:nvSpPr>
        <dsp:cNvPr id="0" name=""/>
        <dsp:cNvSpPr/>
      </dsp:nvSpPr>
      <dsp:spPr>
        <a:xfrm>
          <a:off x="548894" y="2525587"/>
          <a:ext cx="7684523" cy="7970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457" tIns="0" rIns="290457" bIns="0" numCol="1" spcCol="1270" anchor="ctr" anchorCtr="0">
          <a:noAutofit/>
        </a:bodyPr>
        <a:lstStyle/>
        <a:p>
          <a:pPr marL="0" lvl="0" indent="0" algn="l" defTabSz="1200150">
            <a:lnSpc>
              <a:spcPct val="90000"/>
            </a:lnSpc>
            <a:spcBef>
              <a:spcPct val="0"/>
            </a:spcBef>
            <a:spcAft>
              <a:spcPct val="35000"/>
            </a:spcAft>
            <a:buNone/>
          </a:pPr>
          <a:r>
            <a:rPr lang="en-GB" sz="2700" kern="1200" baseline="0"/>
            <a:t>Consider aligning stats boundary </a:t>
          </a:r>
          <a:endParaRPr lang="en-US" sz="2700" kern="1200"/>
        </a:p>
      </dsp:txBody>
      <dsp:txXfrm>
        <a:off x="587802" y="2564495"/>
        <a:ext cx="7606707" cy="7192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F43853-04E7-4184-8AD2-259F7E0EAEFF}">
      <dsp:nvSpPr>
        <dsp:cNvPr id="0" name=""/>
        <dsp:cNvSpPr/>
      </dsp:nvSpPr>
      <dsp:spPr>
        <a:xfrm rot="5400000">
          <a:off x="7425382" y="-2979020"/>
          <a:ext cx="1315826" cy="760780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baseline="0"/>
            <a:t>Table level “row-count” statistics used to estimate number of rows &amp; table size</a:t>
          </a:r>
          <a:endParaRPr lang="en-US" sz="2000" kern="1200"/>
        </a:p>
      </dsp:txBody>
      <dsp:txXfrm rot="-5400000">
        <a:off x="4279392" y="231203"/>
        <a:ext cx="7543575" cy="1187360"/>
      </dsp:txXfrm>
    </dsp:sp>
    <dsp:sp modelId="{07FE805E-9B60-42B7-9946-A2E01E0EE63D}">
      <dsp:nvSpPr>
        <dsp:cNvPr id="0" name=""/>
        <dsp:cNvSpPr/>
      </dsp:nvSpPr>
      <dsp:spPr>
        <a:xfrm>
          <a:off x="0" y="2492"/>
          <a:ext cx="4279392" cy="164478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baseline="0"/>
            <a:t>SELECT * FROM TBL</a:t>
          </a:r>
          <a:endParaRPr lang="en-US" sz="2400" kern="1200"/>
        </a:p>
      </dsp:txBody>
      <dsp:txXfrm>
        <a:off x="80292" y="82784"/>
        <a:ext cx="4118808" cy="1484199"/>
      </dsp:txXfrm>
    </dsp:sp>
    <dsp:sp modelId="{0EA9F77E-E4A7-4DE0-B42D-FAD3C68CE0DF}">
      <dsp:nvSpPr>
        <dsp:cNvPr id="0" name=""/>
        <dsp:cNvSpPr/>
      </dsp:nvSpPr>
      <dsp:spPr>
        <a:xfrm rot="5400000">
          <a:off x="7425382" y="-1251998"/>
          <a:ext cx="1315826" cy="760780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baseline="0"/>
            <a:t>Single column statistic on height has an approximation for number of rows</a:t>
          </a:r>
          <a:endParaRPr lang="en-US" sz="2000" kern="1200"/>
        </a:p>
      </dsp:txBody>
      <dsp:txXfrm rot="-5400000">
        <a:off x="4279392" y="1958225"/>
        <a:ext cx="7543575" cy="1187360"/>
      </dsp:txXfrm>
    </dsp:sp>
    <dsp:sp modelId="{7E492289-6236-492A-B79D-37DAA14B3DE3}">
      <dsp:nvSpPr>
        <dsp:cNvPr id="0" name=""/>
        <dsp:cNvSpPr/>
      </dsp:nvSpPr>
      <dsp:spPr>
        <a:xfrm>
          <a:off x="0" y="1737902"/>
          <a:ext cx="4279392" cy="164478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baseline="0" dirty="0"/>
            <a:t>SELECT * FROM TBL </a:t>
          </a:r>
        </a:p>
        <a:p>
          <a:pPr marL="0" lvl="0" indent="0" algn="ctr" defTabSz="1066800">
            <a:lnSpc>
              <a:spcPct val="90000"/>
            </a:lnSpc>
            <a:spcBef>
              <a:spcPct val="0"/>
            </a:spcBef>
            <a:spcAft>
              <a:spcPct val="35000"/>
            </a:spcAft>
            <a:buNone/>
          </a:pPr>
          <a:r>
            <a:rPr lang="en-GB" sz="2400" kern="1200" baseline="0" dirty="0"/>
            <a:t>WHERE height = 60</a:t>
          </a:r>
          <a:endParaRPr lang="en-US" sz="2400" kern="1200" dirty="0"/>
        </a:p>
      </dsp:txBody>
      <dsp:txXfrm>
        <a:off x="80292" y="1818194"/>
        <a:ext cx="4118808" cy="1484199"/>
      </dsp:txXfrm>
    </dsp:sp>
    <dsp:sp modelId="{3E828525-CFE9-409D-B55D-B4FD0D144E13}">
      <dsp:nvSpPr>
        <dsp:cNvPr id="0" name=""/>
        <dsp:cNvSpPr/>
      </dsp:nvSpPr>
      <dsp:spPr>
        <a:xfrm rot="5400000">
          <a:off x="7425382" y="475024"/>
          <a:ext cx="1315826" cy="7607808"/>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baseline="0"/>
            <a:t>Multi-column statistic with histogram on height and density correlation on height and weight estimates the number of rows</a:t>
          </a:r>
          <a:endParaRPr lang="en-US" sz="2000" kern="1200"/>
        </a:p>
      </dsp:txBody>
      <dsp:txXfrm rot="-5400000">
        <a:off x="4279392" y="3685248"/>
        <a:ext cx="7543575" cy="1187360"/>
      </dsp:txXfrm>
    </dsp:sp>
    <dsp:sp modelId="{A6F49223-A31F-43F8-B383-80C72A50F172}">
      <dsp:nvSpPr>
        <dsp:cNvPr id="0" name=""/>
        <dsp:cNvSpPr/>
      </dsp:nvSpPr>
      <dsp:spPr>
        <a:xfrm>
          <a:off x="0" y="3456536"/>
          <a:ext cx="4279392" cy="164478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baseline="0" dirty="0"/>
            <a:t>SELECT * FROM TBL_01 </a:t>
          </a:r>
        </a:p>
        <a:p>
          <a:pPr marL="0" lvl="0" indent="0" algn="ctr" defTabSz="1066800">
            <a:lnSpc>
              <a:spcPct val="90000"/>
            </a:lnSpc>
            <a:spcBef>
              <a:spcPct val="0"/>
            </a:spcBef>
            <a:spcAft>
              <a:spcPct val="35000"/>
            </a:spcAft>
            <a:buNone/>
          </a:pPr>
          <a:r>
            <a:rPr lang="en-GB" sz="2400" kern="1200" baseline="0" dirty="0"/>
            <a:t>JOIN TBL_02 </a:t>
          </a:r>
        </a:p>
        <a:p>
          <a:pPr marL="0" lvl="0" indent="0" algn="ctr" defTabSz="1066800">
            <a:lnSpc>
              <a:spcPct val="90000"/>
            </a:lnSpc>
            <a:spcBef>
              <a:spcPct val="0"/>
            </a:spcBef>
            <a:spcAft>
              <a:spcPct val="35000"/>
            </a:spcAft>
            <a:buNone/>
          </a:pPr>
          <a:r>
            <a:rPr lang="en-GB" sz="2400" kern="1200" baseline="0" dirty="0"/>
            <a:t>ON height AND weight</a:t>
          </a:r>
          <a:endParaRPr lang="en-US" sz="2400" kern="1200" dirty="0"/>
        </a:p>
      </dsp:txBody>
      <dsp:txXfrm>
        <a:off x="80292" y="3536828"/>
        <a:ext cx="4118808" cy="1484199"/>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005BC6-8830-4BCA-AA4D-319A93A9781A}">
      <dsp:nvSpPr>
        <dsp:cNvPr id="0" name=""/>
        <dsp:cNvSpPr/>
      </dsp:nvSpPr>
      <dsp:spPr>
        <a:xfrm>
          <a:off x="0" y="15061"/>
          <a:ext cx="9645065" cy="11793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baseline="0"/>
            <a:t>Requires ALTER permission on the table</a:t>
          </a:r>
          <a:endParaRPr lang="en-US" sz="3200" kern="1200"/>
        </a:p>
      </dsp:txBody>
      <dsp:txXfrm>
        <a:off x="57572" y="72633"/>
        <a:ext cx="9529921" cy="1064216"/>
      </dsp:txXfrm>
    </dsp:sp>
    <dsp:sp modelId="{162C5B91-9927-421E-99FE-A42659B78710}">
      <dsp:nvSpPr>
        <dsp:cNvPr id="0" name=""/>
        <dsp:cNvSpPr/>
      </dsp:nvSpPr>
      <dsp:spPr>
        <a:xfrm>
          <a:off x="0" y="1371446"/>
          <a:ext cx="9645065" cy="117936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baseline="0"/>
            <a:t>Can only drop user generated stats</a:t>
          </a:r>
          <a:endParaRPr lang="en-US" sz="3200" kern="1200"/>
        </a:p>
      </dsp:txBody>
      <dsp:txXfrm>
        <a:off x="57572" y="1429018"/>
        <a:ext cx="9529921" cy="10642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1BDE05-1C94-49B0-847D-B6E0F6584093}">
      <dsp:nvSpPr>
        <dsp:cNvPr id="0" name=""/>
        <dsp:cNvSpPr/>
      </dsp:nvSpPr>
      <dsp:spPr>
        <a:xfrm>
          <a:off x="0" y="13565"/>
          <a:ext cx="11885514" cy="9216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GB" sz="3600" kern="1200" baseline="0" dirty="0"/>
            <a:t>Query Optimizers use statistics:</a:t>
          </a:r>
          <a:endParaRPr lang="en-US" sz="3600" kern="1200" dirty="0"/>
        </a:p>
      </dsp:txBody>
      <dsp:txXfrm>
        <a:off x="0" y="13565"/>
        <a:ext cx="11885514" cy="921600"/>
      </dsp:txXfrm>
    </dsp:sp>
    <dsp:sp modelId="{CB8B0999-7DA8-48B9-B5CD-4FD340EFC1F3}">
      <dsp:nvSpPr>
        <dsp:cNvPr id="0" name=""/>
        <dsp:cNvSpPr/>
      </dsp:nvSpPr>
      <dsp:spPr>
        <a:xfrm>
          <a:off x="0" y="935165"/>
          <a:ext cx="11885514" cy="3337920"/>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n-GB" sz="2800" kern="1200" baseline="0"/>
            <a:t>Estimate number of rows impacted by the query</a:t>
          </a:r>
          <a:endParaRPr lang="en-US" sz="2800" kern="1200"/>
        </a:p>
        <a:p>
          <a:pPr marL="285750" lvl="1" indent="-285750" algn="l" defTabSz="1244600">
            <a:lnSpc>
              <a:spcPct val="90000"/>
            </a:lnSpc>
            <a:spcBef>
              <a:spcPct val="0"/>
            </a:spcBef>
            <a:spcAft>
              <a:spcPct val="15000"/>
            </a:spcAft>
            <a:buChar char="•"/>
          </a:pPr>
          <a:r>
            <a:rPr lang="en-GB" sz="2800" kern="1200" baseline="0"/>
            <a:t>Assign estimated costs to execution plan operators</a:t>
          </a:r>
          <a:endParaRPr lang="en-US" sz="2800" kern="1200"/>
        </a:p>
        <a:p>
          <a:pPr marL="285750" lvl="1" indent="-285750" algn="l" defTabSz="1244600">
            <a:lnSpc>
              <a:spcPct val="90000"/>
            </a:lnSpc>
            <a:spcBef>
              <a:spcPct val="0"/>
            </a:spcBef>
            <a:spcAft>
              <a:spcPct val="15000"/>
            </a:spcAft>
            <a:buChar char="•"/>
          </a:pPr>
          <a:r>
            <a:rPr lang="en-GB" sz="2800" kern="1200" baseline="0"/>
            <a:t>Choose robust, good enough, plan to fulfil a query </a:t>
          </a:r>
          <a:endParaRPr lang="en-US" sz="2800" kern="1200"/>
        </a:p>
        <a:p>
          <a:pPr marL="285750" lvl="1" indent="-285750" algn="l" defTabSz="1244600">
            <a:lnSpc>
              <a:spcPct val="90000"/>
            </a:lnSpc>
            <a:spcBef>
              <a:spcPct val="0"/>
            </a:spcBef>
            <a:spcAft>
              <a:spcPct val="15000"/>
            </a:spcAft>
            <a:buChar char="•"/>
          </a:pPr>
          <a:r>
            <a:rPr lang="en-GB" sz="2800" kern="1200" baseline="0"/>
            <a:t>Plan choice based on the lowest cost for execution</a:t>
          </a:r>
          <a:endParaRPr lang="en-US" sz="2800" kern="1200"/>
        </a:p>
        <a:p>
          <a:pPr marL="285750" lvl="1" indent="-285750" algn="l" defTabSz="1244600">
            <a:lnSpc>
              <a:spcPct val="90000"/>
            </a:lnSpc>
            <a:spcBef>
              <a:spcPct val="0"/>
            </a:spcBef>
            <a:spcAft>
              <a:spcPct val="15000"/>
            </a:spcAft>
            <a:buChar char="•"/>
          </a:pPr>
          <a:r>
            <a:rPr lang="en-GB" sz="2800" kern="1200" baseline="0"/>
            <a:t>Good estimation accurately reflects the # of rows being processed</a:t>
          </a:r>
          <a:endParaRPr lang="en-US" sz="2800" kern="1200"/>
        </a:p>
        <a:p>
          <a:pPr marL="285750" lvl="1" indent="-285750" algn="l" defTabSz="1244600">
            <a:lnSpc>
              <a:spcPct val="90000"/>
            </a:lnSpc>
            <a:spcBef>
              <a:spcPct val="0"/>
            </a:spcBef>
            <a:spcAft>
              <a:spcPct val="15000"/>
            </a:spcAft>
            <a:buChar char="•"/>
          </a:pPr>
          <a:r>
            <a:rPr lang="en-GB" sz="2800" kern="1200" baseline="0"/>
            <a:t>Enables the most appropriate plan to be chosen</a:t>
          </a:r>
          <a:endParaRPr lang="en-US" sz="2800" kern="1200"/>
        </a:p>
      </dsp:txBody>
      <dsp:txXfrm>
        <a:off x="0" y="935165"/>
        <a:ext cx="11885514" cy="33379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D7760-B3A9-4E04-8CAC-DFE67F3228E6}">
      <dsp:nvSpPr>
        <dsp:cNvPr id="0" name=""/>
        <dsp:cNvSpPr/>
      </dsp:nvSpPr>
      <dsp:spPr>
        <a:xfrm>
          <a:off x="0" y="680119"/>
          <a:ext cx="11097333" cy="931632"/>
        </a:xfrm>
        <a:prstGeom prst="roundRect">
          <a:avLst/>
        </a:prstGeom>
        <a:solidFill>
          <a:schemeClr val="dk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kern="1200" baseline="0"/>
            <a:t>SQL Pool MPP Query Engine</a:t>
          </a:r>
          <a:endParaRPr lang="en-US" sz="4200" kern="1200"/>
        </a:p>
      </dsp:txBody>
      <dsp:txXfrm>
        <a:off x="45479" y="725598"/>
        <a:ext cx="11006375" cy="840674"/>
      </dsp:txXfrm>
    </dsp:sp>
    <dsp:sp modelId="{1722EBB0-5A8D-4E93-9BC4-E63A32A04924}">
      <dsp:nvSpPr>
        <dsp:cNvPr id="0" name=""/>
        <dsp:cNvSpPr/>
      </dsp:nvSpPr>
      <dsp:spPr>
        <a:xfrm>
          <a:off x="0" y="1611752"/>
          <a:ext cx="11097333" cy="2623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a:t>Queries the shell database on Control node</a:t>
          </a:r>
          <a:endParaRPr lang="en-US" sz="2800" kern="1200"/>
        </a:p>
        <a:p>
          <a:pPr marL="285750" lvl="1" indent="-285750" algn="l" defTabSz="1244600">
            <a:lnSpc>
              <a:spcPct val="90000"/>
            </a:lnSpc>
            <a:spcBef>
              <a:spcPct val="0"/>
            </a:spcBef>
            <a:spcAft>
              <a:spcPct val="20000"/>
            </a:spcAft>
            <a:buChar char="•"/>
          </a:pPr>
          <a:r>
            <a:rPr lang="en-US" sz="2800" kern="1200" baseline="0"/>
            <a:t>Estimate the cardinality of rows for the query </a:t>
          </a:r>
        </a:p>
        <a:p>
          <a:pPr marL="285750" lvl="1" indent="-285750" algn="l" defTabSz="1244600">
            <a:lnSpc>
              <a:spcPct val="90000"/>
            </a:lnSpc>
            <a:spcBef>
              <a:spcPct val="0"/>
            </a:spcBef>
            <a:spcAft>
              <a:spcPct val="20000"/>
            </a:spcAft>
            <a:buChar char="•"/>
          </a:pPr>
          <a:r>
            <a:rPr lang="en-US" sz="2800" kern="1200" baseline="0"/>
            <a:t>Generate efficient D-SQL plans</a:t>
          </a:r>
        </a:p>
        <a:p>
          <a:pPr marL="285750" lvl="1" indent="-285750" algn="l" defTabSz="1244600">
            <a:lnSpc>
              <a:spcPct val="90000"/>
            </a:lnSpc>
            <a:spcBef>
              <a:spcPct val="0"/>
            </a:spcBef>
            <a:spcAft>
              <a:spcPct val="20000"/>
            </a:spcAft>
            <a:buChar char="•"/>
          </a:pPr>
          <a:r>
            <a:rPr lang="en-US" sz="2800" kern="1200" baseline="0"/>
            <a:t>Minimise Data Movement</a:t>
          </a:r>
        </a:p>
        <a:p>
          <a:pPr marL="285750" lvl="1" indent="-285750" algn="l" defTabSz="1244600">
            <a:lnSpc>
              <a:spcPct val="90000"/>
            </a:lnSpc>
            <a:spcBef>
              <a:spcPct val="0"/>
            </a:spcBef>
            <a:spcAft>
              <a:spcPct val="20000"/>
            </a:spcAft>
            <a:buChar char="•"/>
          </a:pPr>
          <a:endParaRPr lang="en-US" sz="2800" kern="1200" baseline="0"/>
        </a:p>
      </dsp:txBody>
      <dsp:txXfrm>
        <a:off x="0" y="1611752"/>
        <a:ext cx="11097333" cy="26237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D7760-B3A9-4E04-8CAC-DFE67F3228E6}">
      <dsp:nvSpPr>
        <dsp:cNvPr id="0" name=""/>
        <dsp:cNvSpPr/>
      </dsp:nvSpPr>
      <dsp:spPr>
        <a:xfrm>
          <a:off x="0" y="610135"/>
          <a:ext cx="11097333" cy="931632"/>
        </a:xfrm>
        <a:prstGeom prst="roundRect">
          <a:avLst/>
        </a:prstGeom>
        <a:solidFill>
          <a:schemeClr val="dk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kern="1200" baseline="0"/>
            <a:t>Distributions / Compute Nodes</a:t>
          </a:r>
          <a:endParaRPr lang="en-US" sz="4200" kern="1200"/>
        </a:p>
      </dsp:txBody>
      <dsp:txXfrm>
        <a:off x="45479" y="655614"/>
        <a:ext cx="11006375" cy="840674"/>
      </dsp:txXfrm>
    </dsp:sp>
    <dsp:sp modelId="{1722EBB0-5A8D-4E93-9BC4-E63A32A04924}">
      <dsp:nvSpPr>
        <dsp:cNvPr id="0" name=""/>
        <dsp:cNvSpPr/>
      </dsp:nvSpPr>
      <dsp:spPr>
        <a:xfrm>
          <a:off x="0" y="1541768"/>
          <a:ext cx="11097333" cy="154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a:t>Estimate the cardinality of rows for the sub-query </a:t>
          </a:r>
          <a:endParaRPr lang="en-US" sz="2800" kern="1200"/>
        </a:p>
        <a:p>
          <a:pPr marL="285750" lvl="1" indent="-285750" algn="l" defTabSz="1244600">
            <a:lnSpc>
              <a:spcPct val="90000"/>
            </a:lnSpc>
            <a:spcBef>
              <a:spcPct val="0"/>
            </a:spcBef>
            <a:spcAft>
              <a:spcPct val="20000"/>
            </a:spcAft>
            <a:buChar char="•"/>
          </a:pPr>
          <a:r>
            <a:rPr lang="en-US" sz="2800" kern="1200" baseline="0"/>
            <a:t>Generate efficient SMP plans</a:t>
          </a:r>
        </a:p>
        <a:p>
          <a:pPr marL="285750" lvl="1" indent="-285750" algn="l" defTabSz="1244600">
            <a:lnSpc>
              <a:spcPct val="90000"/>
            </a:lnSpc>
            <a:spcBef>
              <a:spcPct val="0"/>
            </a:spcBef>
            <a:spcAft>
              <a:spcPct val="20000"/>
            </a:spcAft>
            <a:buChar char="•"/>
          </a:pPr>
          <a:r>
            <a:rPr lang="en-US" sz="2800" kern="1200" baseline="0"/>
            <a:t>Usage is the same as any SQL DB query execution</a:t>
          </a:r>
        </a:p>
      </dsp:txBody>
      <dsp:txXfrm>
        <a:off x="0" y="1541768"/>
        <a:ext cx="11097333" cy="154732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210438-9193-4CBA-9606-8DC35B9A6F80}">
      <dsp:nvSpPr>
        <dsp:cNvPr id="0" name=""/>
        <dsp:cNvSpPr/>
      </dsp:nvSpPr>
      <dsp:spPr>
        <a:xfrm>
          <a:off x="0" y="55664"/>
          <a:ext cx="11097333" cy="900899"/>
        </a:xfrm>
        <a:prstGeom prst="roundRect">
          <a:avLst/>
        </a:prstGeom>
        <a:solidFill>
          <a:schemeClr val="dk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baseline="0"/>
            <a:t>DW - Distributed Plan Choices</a:t>
          </a:r>
          <a:endParaRPr lang="en-US" sz="3500" kern="1200"/>
        </a:p>
      </dsp:txBody>
      <dsp:txXfrm>
        <a:off x="43978" y="99642"/>
        <a:ext cx="11009377" cy="812943"/>
      </dsp:txXfrm>
    </dsp:sp>
    <dsp:sp modelId="{25E4AA0F-FC20-48DE-8892-CA41425D2014}">
      <dsp:nvSpPr>
        <dsp:cNvPr id="0" name=""/>
        <dsp:cNvSpPr/>
      </dsp:nvSpPr>
      <dsp:spPr>
        <a:xfrm>
          <a:off x="0" y="956564"/>
          <a:ext cx="11097333"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baseline="0"/>
            <a:t>Data Movement: Broadcast, Shuffle, or Partition (etc)?</a:t>
          </a:r>
          <a:endParaRPr lang="en-US" sz="2700" kern="1200"/>
        </a:p>
      </dsp:txBody>
      <dsp:txXfrm>
        <a:off x="0" y="956564"/>
        <a:ext cx="11097333" cy="579600"/>
      </dsp:txXfrm>
    </dsp:sp>
    <dsp:sp modelId="{67507C4C-D07D-499D-9336-92641C927017}">
      <dsp:nvSpPr>
        <dsp:cNvPr id="0" name=""/>
        <dsp:cNvSpPr/>
      </dsp:nvSpPr>
      <dsp:spPr>
        <a:xfrm>
          <a:off x="0" y="1536164"/>
          <a:ext cx="11097333" cy="900899"/>
        </a:xfrm>
        <a:prstGeom prst="roundRect">
          <a:avLst/>
        </a:prstGeom>
        <a:solidFill>
          <a:schemeClr val="dk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baseline="0"/>
            <a:t>Distribution - SQL Plan Choices</a:t>
          </a:r>
          <a:endParaRPr lang="en-US" sz="3500" kern="1200"/>
        </a:p>
      </dsp:txBody>
      <dsp:txXfrm>
        <a:off x="43978" y="1580142"/>
        <a:ext cx="11009377" cy="812943"/>
      </dsp:txXfrm>
    </dsp:sp>
    <dsp:sp modelId="{FC839D8A-3E00-4EBA-877E-DC31C47D5850}">
      <dsp:nvSpPr>
        <dsp:cNvPr id="0" name=""/>
        <dsp:cNvSpPr/>
      </dsp:nvSpPr>
      <dsp:spPr>
        <a:xfrm>
          <a:off x="0" y="2437064"/>
          <a:ext cx="11097333" cy="1521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40"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baseline="0"/>
            <a:t>Table operators: Index Seek or Scan?</a:t>
          </a:r>
          <a:endParaRPr lang="en-US" sz="2700" kern="1200"/>
        </a:p>
        <a:p>
          <a:pPr marL="228600" lvl="1" indent="-228600" algn="l" defTabSz="1200150">
            <a:lnSpc>
              <a:spcPct val="90000"/>
            </a:lnSpc>
            <a:spcBef>
              <a:spcPct val="0"/>
            </a:spcBef>
            <a:spcAft>
              <a:spcPct val="20000"/>
            </a:spcAft>
            <a:buChar char="•"/>
          </a:pPr>
          <a:r>
            <a:rPr lang="en-US" sz="2700" kern="1200" baseline="0"/>
            <a:t>JOIN operators: Hash, Merge, or Nested Loop?</a:t>
          </a:r>
          <a:endParaRPr lang="en-US" sz="2700" kern="1200"/>
        </a:p>
        <a:p>
          <a:pPr marL="228600" lvl="1" indent="-228600" algn="l" defTabSz="1200150">
            <a:lnSpc>
              <a:spcPct val="90000"/>
            </a:lnSpc>
            <a:spcBef>
              <a:spcPct val="0"/>
            </a:spcBef>
            <a:spcAft>
              <a:spcPct val="20000"/>
            </a:spcAft>
            <a:buChar char="•"/>
          </a:pPr>
          <a:r>
            <a:rPr lang="en-US" sz="2700" kern="1200" baseline="0"/>
            <a:t>Parallel or Serial?</a:t>
          </a:r>
          <a:endParaRPr lang="en-US" sz="2700" kern="1200"/>
        </a:p>
      </dsp:txBody>
      <dsp:txXfrm>
        <a:off x="0" y="2437064"/>
        <a:ext cx="11097333" cy="152144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507F85-82B6-4EB0-9D75-81D638320E73}">
      <dsp:nvSpPr>
        <dsp:cNvPr id="0" name=""/>
        <dsp:cNvSpPr/>
      </dsp:nvSpPr>
      <dsp:spPr>
        <a:xfrm>
          <a:off x="51" y="71309"/>
          <a:ext cx="4957985" cy="786224"/>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GB" sz="3200" kern="1200" baseline="0" dirty="0"/>
            <a:t>User Generated</a:t>
          </a:r>
          <a:endParaRPr lang="en-US" sz="3200" kern="1200" dirty="0"/>
        </a:p>
      </dsp:txBody>
      <dsp:txXfrm>
        <a:off x="51" y="71309"/>
        <a:ext cx="4957985" cy="786224"/>
      </dsp:txXfrm>
    </dsp:sp>
    <dsp:sp modelId="{F4821FC8-6571-42BF-875D-F73B26AD45EB}">
      <dsp:nvSpPr>
        <dsp:cNvPr id="0" name=""/>
        <dsp:cNvSpPr/>
      </dsp:nvSpPr>
      <dsp:spPr>
        <a:xfrm>
          <a:off x="51" y="857533"/>
          <a:ext cx="4957985" cy="4557557"/>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kern="1200" baseline="0"/>
            <a:t>Created on control </a:t>
          </a:r>
          <a:r>
            <a:rPr lang="en-GB" sz="2000" u="sng" kern="1200" baseline="0"/>
            <a:t>and</a:t>
          </a:r>
          <a:r>
            <a:rPr lang="en-GB" sz="2000" kern="1200" baseline="0"/>
            <a:t> compute nodes</a:t>
          </a:r>
          <a:endParaRPr lang="en-US" sz="2000" kern="1200"/>
        </a:p>
        <a:p>
          <a:pPr marL="228600" lvl="1" indent="-228600" algn="l" defTabSz="889000">
            <a:lnSpc>
              <a:spcPct val="90000"/>
            </a:lnSpc>
            <a:spcBef>
              <a:spcPct val="0"/>
            </a:spcBef>
            <a:spcAft>
              <a:spcPct val="15000"/>
            </a:spcAft>
            <a:buChar char="•"/>
          </a:pPr>
          <a:r>
            <a:rPr lang="en-GB" sz="2000" kern="1200" baseline="0"/>
            <a:t>Can be single or multi-column</a:t>
          </a:r>
          <a:endParaRPr lang="en-US" sz="2000" kern="1200"/>
        </a:p>
        <a:p>
          <a:pPr marL="228600" lvl="1" indent="-228600" algn="l" defTabSz="889000">
            <a:lnSpc>
              <a:spcPct val="90000"/>
            </a:lnSpc>
            <a:spcBef>
              <a:spcPct val="0"/>
            </a:spcBef>
            <a:spcAft>
              <a:spcPct val="15000"/>
            </a:spcAft>
            <a:buChar char="•"/>
          </a:pPr>
          <a:r>
            <a:rPr lang="en-GB" sz="2000" kern="1200" baseline="0"/>
            <a:t>Visible via </a:t>
          </a:r>
          <a:r>
            <a:rPr lang="en-GB" sz="2000" kern="1200" baseline="0" err="1"/>
            <a:t>sys.stats</a:t>
          </a:r>
          <a:r>
            <a:rPr lang="en-GB" sz="2000" kern="1200" baseline="0"/>
            <a:t> / </a:t>
          </a:r>
          <a:r>
            <a:rPr lang="en-GB" sz="2000" kern="1200" baseline="0" err="1"/>
            <a:t>sys.stats_columns</a:t>
          </a:r>
          <a:endParaRPr lang="en-US" sz="2000" kern="1200"/>
        </a:p>
        <a:p>
          <a:pPr marL="228600" lvl="1" indent="-228600" algn="l" defTabSz="889000">
            <a:lnSpc>
              <a:spcPct val="90000"/>
            </a:lnSpc>
            <a:spcBef>
              <a:spcPct val="0"/>
            </a:spcBef>
            <a:spcAft>
              <a:spcPct val="15000"/>
            </a:spcAft>
            <a:buChar char="•"/>
          </a:pPr>
          <a:r>
            <a:rPr lang="en-GB" sz="2000" kern="1200" baseline="0"/>
            <a:t>Can be created on a column that has a system-generated statistic</a:t>
          </a:r>
          <a:endParaRPr lang="en-US" sz="2000" kern="1200"/>
        </a:p>
        <a:p>
          <a:pPr marL="228600" lvl="1" indent="-228600" algn="l" defTabSz="889000">
            <a:lnSpc>
              <a:spcPct val="90000"/>
            </a:lnSpc>
            <a:spcBef>
              <a:spcPct val="0"/>
            </a:spcBef>
            <a:spcAft>
              <a:spcPct val="15000"/>
            </a:spcAft>
            <a:buChar char="•"/>
          </a:pPr>
          <a:r>
            <a:rPr lang="en-GB" sz="2000" kern="1200" baseline="0" dirty="0"/>
            <a:t>Manually created</a:t>
          </a:r>
          <a:endParaRPr lang="en-US" sz="2000" kern="1200" dirty="0"/>
        </a:p>
        <a:p>
          <a:pPr marL="228600" lvl="1" indent="-228600" algn="l" defTabSz="889000">
            <a:lnSpc>
              <a:spcPct val="90000"/>
            </a:lnSpc>
            <a:spcBef>
              <a:spcPct val="0"/>
            </a:spcBef>
            <a:spcAft>
              <a:spcPct val="15000"/>
            </a:spcAft>
            <a:buChar char="•"/>
          </a:pPr>
          <a:r>
            <a:rPr lang="en-GB" sz="2000" kern="1200" baseline="0"/>
            <a:t>Can be dropped</a:t>
          </a:r>
          <a:endParaRPr lang="en-US" sz="2000" kern="1200"/>
        </a:p>
      </dsp:txBody>
      <dsp:txXfrm>
        <a:off x="51" y="857533"/>
        <a:ext cx="4957985" cy="4557557"/>
      </dsp:txXfrm>
    </dsp:sp>
    <dsp:sp modelId="{AEF262FC-024E-44BF-85E3-E51508EC36B5}">
      <dsp:nvSpPr>
        <dsp:cNvPr id="0" name=""/>
        <dsp:cNvSpPr/>
      </dsp:nvSpPr>
      <dsp:spPr>
        <a:xfrm>
          <a:off x="5652155" y="71309"/>
          <a:ext cx="4957985" cy="786224"/>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GB" sz="3200" kern="1200" baseline="0" dirty="0"/>
            <a:t>System generated</a:t>
          </a:r>
          <a:endParaRPr lang="en-US" sz="3200" kern="1200" dirty="0"/>
        </a:p>
      </dsp:txBody>
      <dsp:txXfrm>
        <a:off x="5652155" y="71309"/>
        <a:ext cx="4957985" cy="786224"/>
      </dsp:txXfrm>
    </dsp:sp>
    <dsp:sp modelId="{F3B9F408-E8BA-4531-A3CF-2747F5E4A30E}">
      <dsp:nvSpPr>
        <dsp:cNvPr id="0" name=""/>
        <dsp:cNvSpPr/>
      </dsp:nvSpPr>
      <dsp:spPr>
        <a:xfrm>
          <a:off x="5652155" y="857533"/>
          <a:ext cx="4957985" cy="4557557"/>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GB" sz="2300" kern="1200" baseline="0"/>
            <a:t>Not seen on Control node</a:t>
          </a:r>
          <a:endParaRPr lang="en-US" sz="2300" kern="1200"/>
        </a:p>
        <a:p>
          <a:pPr marL="228600" lvl="1" indent="-228600" algn="l" defTabSz="1022350">
            <a:lnSpc>
              <a:spcPct val="90000"/>
            </a:lnSpc>
            <a:spcBef>
              <a:spcPct val="0"/>
            </a:spcBef>
            <a:spcAft>
              <a:spcPct val="15000"/>
            </a:spcAft>
            <a:buChar char="•"/>
          </a:pPr>
          <a:r>
            <a:rPr lang="en-GB" sz="2300" kern="1200" baseline="0"/>
            <a:t>Generated on Compute nodes only</a:t>
          </a:r>
          <a:endParaRPr lang="en-US" sz="2300" kern="1200"/>
        </a:p>
        <a:p>
          <a:pPr marL="228600" lvl="1" indent="-228600" algn="l" defTabSz="1022350">
            <a:lnSpc>
              <a:spcPct val="90000"/>
            </a:lnSpc>
            <a:spcBef>
              <a:spcPct val="0"/>
            </a:spcBef>
            <a:spcAft>
              <a:spcPct val="15000"/>
            </a:spcAft>
            <a:buChar char="•"/>
          </a:pPr>
          <a:r>
            <a:rPr lang="en-GB" sz="2300" kern="1200" baseline="0"/>
            <a:t>Single column only</a:t>
          </a:r>
          <a:endParaRPr lang="en-US" sz="2300" kern="1200"/>
        </a:p>
        <a:p>
          <a:pPr marL="228600" lvl="1" indent="-228600" algn="l" defTabSz="1022350">
            <a:lnSpc>
              <a:spcPct val="90000"/>
            </a:lnSpc>
            <a:spcBef>
              <a:spcPct val="0"/>
            </a:spcBef>
            <a:spcAft>
              <a:spcPct val="15000"/>
            </a:spcAft>
            <a:buChar char="•"/>
          </a:pPr>
          <a:r>
            <a:rPr lang="en-GB" sz="2300" kern="1200" baseline="0"/>
            <a:t>Not visible via sys.stats / </a:t>
          </a:r>
          <a:r>
            <a:rPr lang="en-GB" sz="2300" kern="1200" baseline="0" err="1"/>
            <a:t>sys.stats_columns</a:t>
          </a:r>
          <a:endParaRPr lang="en-US" sz="2300" kern="1200"/>
        </a:p>
        <a:p>
          <a:pPr marL="228600" lvl="1" indent="-228600" algn="l" defTabSz="1022350">
            <a:lnSpc>
              <a:spcPct val="90000"/>
            </a:lnSpc>
            <a:spcBef>
              <a:spcPct val="0"/>
            </a:spcBef>
            <a:spcAft>
              <a:spcPct val="15000"/>
            </a:spcAft>
            <a:buChar char="•"/>
          </a:pPr>
          <a:r>
            <a:rPr lang="en-GB" sz="2300" b="0" kern="1200"/>
            <a:t>Generated if no statistic exists on the column </a:t>
          </a:r>
          <a:endParaRPr lang="en-US" sz="2300" b="0" kern="1200"/>
        </a:p>
        <a:p>
          <a:pPr marL="457200" lvl="2" indent="-228600" algn="l" defTabSz="1022350">
            <a:lnSpc>
              <a:spcPct val="90000"/>
            </a:lnSpc>
            <a:spcBef>
              <a:spcPct val="0"/>
            </a:spcBef>
            <a:spcAft>
              <a:spcPct val="15000"/>
            </a:spcAft>
            <a:buChar char="•"/>
          </a:pPr>
          <a:r>
            <a:rPr lang="en-GB" sz="2300" b="0" kern="1200" dirty="0">
              <a:latin typeface="+mn-lt"/>
            </a:rPr>
            <a:t>(AUTO_CREATE_STATISTICS ON)</a:t>
          </a:r>
        </a:p>
        <a:p>
          <a:pPr marL="228600" lvl="1" indent="-228600" algn="l" defTabSz="1022350">
            <a:lnSpc>
              <a:spcPct val="90000"/>
            </a:lnSpc>
            <a:spcBef>
              <a:spcPct val="0"/>
            </a:spcBef>
            <a:spcAft>
              <a:spcPct val="15000"/>
            </a:spcAft>
            <a:buChar char="•"/>
          </a:pPr>
          <a:r>
            <a:rPr lang="en-GB" sz="2300" b="0" kern="1200" dirty="0">
              <a:latin typeface="+mn-lt"/>
            </a:rPr>
            <a:t>Generated as required to improve SMP cardinality estimates</a:t>
          </a:r>
        </a:p>
      </dsp:txBody>
      <dsp:txXfrm>
        <a:off x="5652155" y="857533"/>
        <a:ext cx="4957985" cy="455755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2A3C35-998A-4D4D-A369-484F2C382985}">
      <dsp:nvSpPr>
        <dsp:cNvPr id="0" name=""/>
        <dsp:cNvSpPr/>
      </dsp:nvSpPr>
      <dsp:spPr>
        <a:xfrm>
          <a:off x="2" y="324729"/>
          <a:ext cx="4984997" cy="18720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GB" sz="3600" b="0" kern="1200"/>
            <a:t>Selectivity</a:t>
          </a:r>
          <a:endParaRPr lang="en-US" sz="3600" b="0" kern="1200"/>
        </a:p>
      </dsp:txBody>
      <dsp:txXfrm>
        <a:off x="2" y="324729"/>
        <a:ext cx="4984997" cy="1872000"/>
      </dsp:txXfrm>
    </dsp:sp>
    <dsp:sp modelId="{EE9F99AA-9E6B-433A-9905-A828FC431D84}">
      <dsp:nvSpPr>
        <dsp:cNvPr id="0" name=""/>
        <dsp:cNvSpPr/>
      </dsp:nvSpPr>
      <dsp:spPr>
        <a:xfrm>
          <a:off x="52" y="2338795"/>
          <a:ext cx="4984997" cy="2854800"/>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en-US" sz="3200" kern="1200"/>
            <a:t>JOIN</a:t>
          </a:r>
        </a:p>
        <a:p>
          <a:pPr marL="285750" lvl="1" indent="-285750" algn="l" defTabSz="1422400">
            <a:lnSpc>
              <a:spcPct val="90000"/>
            </a:lnSpc>
            <a:spcBef>
              <a:spcPct val="0"/>
            </a:spcBef>
            <a:spcAft>
              <a:spcPct val="15000"/>
            </a:spcAft>
            <a:buChar char="•"/>
          </a:pPr>
          <a:r>
            <a:rPr lang="en-US" sz="3200" kern="1200"/>
            <a:t>WHERE </a:t>
          </a:r>
        </a:p>
        <a:p>
          <a:pPr marL="285750" lvl="1" indent="-285750" algn="l" defTabSz="1422400">
            <a:lnSpc>
              <a:spcPct val="90000"/>
            </a:lnSpc>
            <a:spcBef>
              <a:spcPct val="0"/>
            </a:spcBef>
            <a:spcAft>
              <a:spcPct val="15000"/>
            </a:spcAft>
            <a:buChar char="•"/>
          </a:pPr>
          <a:r>
            <a:rPr lang="en-US" sz="3200" kern="1200"/>
            <a:t>HAVING</a:t>
          </a:r>
        </a:p>
        <a:p>
          <a:pPr marL="285750" lvl="1" indent="-285750" algn="l" defTabSz="1422400">
            <a:lnSpc>
              <a:spcPct val="90000"/>
            </a:lnSpc>
            <a:spcBef>
              <a:spcPct val="0"/>
            </a:spcBef>
            <a:spcAft>
              <a:spcPct val="15000"/>
            </a:spcAft>
            <a:buChar char="•"/>
          </a:pPr>
          <a:r>
            <a:rPr lang="en-US" sz="3200" kern="1200"/>
            <a:t>ORDER BY</a:t>
          </a:r>
        </a:p>
      </dsp:txBody>
      <dsp:txXfrm>
        <a:off x="52" y="2338795"/>
        <a:ext cx="4984997" cy="2854800"/>
      </dsp:txXfrm>
    </dsp:sp>
    <dsp:sp modelId="{EC3DECA3-CA55-4F2F-8B79-06BE637D0969}">
      <dsp:nvSpPr>
        <dsp:cNvPr id="0" name=""/>
        <dsp:cNvSpPr/>
      </dsp:nvSpPr>
      <dsp:spPr>
        <a:xfrm>
          <a:off x="5682949" y="466795"/>
          <a:ext cx="4984997" cy="18720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kern="1200"/>
            <a:t>Distinct Values</a:t>
          </a:r>
        </a:p>
      </dsp:txBody>
      <dsp:txXfrm>
        <a:off x="5682949" y="466795"/>
        <a:ext cx="4984997" cy="1872000"/>
      </dsp:txXfrm>
    </dsp:sp>
    <dsp:sp modelId="{93C1F735-8BC2-40E0-AD49-3805116454F4}">
      <dsp:nvSpPr>
        <dsp:cNvPr id="0" name=""/>
        <dsp:cNvSpPr/>
      </dsp:nvSpPr>
      <dsp:spPr>
        <a:xfrm>
          <a:off x="5682949" y="2338795"/>
          <a:ext cx="4984997" cy="2854800"/>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en-US" sz="3200" kern="1200"/>
            <a:t>GROUP BY</a:t>
          </a:r>
        </a:p>
        <a:p>
          <a:pPr marL="285750" lvl="1" indent="-285750" algn="l" defTabSz="1422400">
            <a:lnSpc>
              <a:spcPct val="90000"/>
            </a:lnSpc>
            <a:spcBef>
              <a:spcPct val="0"/>
            </a:spcBef>
            <a:spcAft>
              <a:spcPct val="15000"/>
            </a:spcAft>
            <a:buChar char="•"/>
          </a:pPr>
          <a:r>
            <a:rPr lang="en-US" sz="3200" kern="1200"/>
            <a:t>DISTINCT</a:t>
          </a:r>
        </a:p>
      </dsp:txBody>
      <dsp:txXfrm>
        <a:off x="5682949" y="2338795"/>
        <a:ext cx="4984997" cy="28548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612047-28E3-4BF3-A23B-1B529E2865F1}">
      <dsp:nvSpPr>
        <dsp:cNvPr id="0" name=""/>
        <dsp:cNvSpPr/>
      </dsp:nvSpPr>
      <dsp:spPr>
        <a:xfrm>
          <a:off x="3559" y="1151766"/>
          <a:ext cx="3470287" cy="1388114"/>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kern="1200" baseline="0"/>
            <a:t>Database objects </a:t>
          </a:r>
          <a:endParaRPr lang="en-US" sz="2000" kern="1200"/>
        </a:p>
      </dsp:txBody>
      <dsp:txXfrm>
        <a:off x="3559" y="1151766"/>
        <a:ext cx="3470287" cy="1388114"/>
      </dsp:txXfrm>
    </dsp:sp>
    <dsp:sp modelId="{B1BCF032-C5A5-4AD9-9BB8-B2ECDCE99A10}">
      <dsp:nvSpPr>
        <dsp:cNvPr id="0" name=""/>
        <dsp:cNvSpPr/>
      </dsp:nvSpPr>
      <dsp:spPr>
        <a:xfrm>
          <a:off x="3559" y="2539880"/>
          <a:ext cx="3470287" cy="1509750"/>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kern="1200" baseline="0"/>
            <a:t>BLOBs containing statistical information</a:t>
          </a:r>
          <a:endParaRPr lang="en-US" sz="2000" kern="1200"/>
        </a:p>
      </dsp:txBody>
      <dsp:txXfrm>
        <a:off x="3559" y="2539880"/>
        <a:ext cx="3470287" cy="1509750"/>
      </dsp:txXfrm>
    </dsp:sp>
    <dsp:sp modelId="{260E5715-BADA-4612-9C70-A9BCD1B232C6}">
      <dsp:nvSpPr>
        <dsp:cNvPr id="0" name=""/>
        <dsp:cNvSpPr/>
      </dsp:nvSpPr>
      <dsp:spPr>
        <a:xfrm>
          <a:off x="3959686" y="1151766"/>
          <a:ext cx="3470287" cy="1388114"/>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kern="1200" baseline="0"/>
            <a:t>Contain statistical information about the distribution of values in a column</a:t>
          </a:r>
          <a:endParaRPr lang="en-US" sz="2000" kern="1200"/>
        </a:p>
      </dsp:txBody>
      <dsp:txXfrm>
        <a:off x="3959686" y="1151766"/>
        <a:ext cx="3470287" cy="1388114"/>
      </dsp:txXfrm>
    </dsp:sp>
    <dsp:sp modelId="{6F447E26-2BE2-4623-9F3D-7BD7DB0D8820}">
      <dsp:nvSpPr>
        <dsp:cNvPr id="0" name=""/>
        <dsp:cNvSpPr/>
      </dsp:nvSpPr>
      <dsp:spPr>
        <a:xfrm>
          <a:off x="3959686" y="2539880"/>
          <a:ext cx="3470287" cy="1509750"/>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kern="1200" baseline="0"/>
            <a:t>The statistics object includes a histogram to show the distribution of values in the first column</a:t>
          </a:r>
          <a:endParaRPr lang="en-US" sz="2000" kern="1200"/>
        </a:p>
      </dsp:txBody>
      <dsp:txXfrm>
        <a:off x="3959686" y="2539880"/>
        <a:ext cx="3470287" cy="1509750"/>
      </dsp:txXfrm>
    </dsp:sp>
    <dsp:sp modelId="{2F8ADDD6-C24D-4072-9EF4-2AD0DEFD7038}">
      <dsp:nvSpPr>
        <dsp:cNvPr id="0" name=""/>
        <dsp:cNvSpPr/>
      </dsp:nvSpPr>
      <dsp:spPr>
        <a:xfrm>
          <a:off x="7915813" y="1151766"/>
          <a:ext cx="3470287" cy="1388114"/>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kern="1200" baseline="0"/>
            <a:t>Multi-column statistics can also be generated</a:t>
          </a:r>
          <a:endParaRPr lang="en-US" sz="2000" kern="1200"/>
        </a:p>
      </dsp:txBody>
      <dsp:txXfrm>
        <a:off x="7915813" y="1151766"/>
        <a:ext cx="3470287" cy="1388114"/>
      </dsp:txXfrm>
    </dsp:sp>
    <dsp:sp modelId="{AF2C71A4-12F9-4487-94A0-8E9154C1BEDD}">
      <dsp:nvSpPr>
        <dsp:cNvPr id="0" name=""/>
        <dsp:cNvSpPr/>
      </dsp:nvSpPr>
      <dsp:spPr>
        <a:xfrm>
          <a:off x="7915813" y="2539880"/>
          <a:ext cx="3470287" cy="1509750"/>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kern="1200" baseline="0"/>
            <a:t>These also hold density information i.e. the correlation of values between columns</a:t>
          </a:r>
          <a:endParaRPr lang="en-US" sz="2000" kern="1200"/>
        </a:p>
      </dsp:txBody>
      <dsp:txXfrm>
        <a:off x="7915813" y="2539880"/>
        <a:ext cx="3470287" cy="1509750"/>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20/2022 8:5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20/2022 8:5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statistics/statistics?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pdw-exec-requests-transact-sql?toc=/azure/synapse-analytics/toc.json&amp;bc=/azure/synapse-analytics/breadcrumb/toc.json&amp;view=azure-sqldw-latest"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44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n w="0"/>
                <a:effectLst>
                  <a:outerShdw blurRad="38100" dist="19050" dir="2700000" algn="tl" rotWithShape="0">
                    <a:schemeClr val="dk1">
                      <a:alpha val="40000"/>
                    </a:schemeClr>
                  </a:outerShdw>
                </a:effectLst>
              </a:rPr>
              <a:t>The query optimizers use statistics to make choices about the query plans.</a:t>
            </a:r>
          </a:p>
          <a:p>
            <a:endParaRPr lang="en-US">
              <a:ln w="0"/>
              <a:effectLst>
                <a:outerShdw blurRad="38100" dist="19050" dir="2700000" algn="tl" rotWithShape="0">
                  <a:schemeClr val="dk1">
                    <a:alpha val="40000"/>
                  </a:schemeClr>
                </a:outerShdw>
              </a:effectLst>
            </a:endParaRPr>
          </a:p>
          <a:p>
            <a:r>
              <a:rPr lang="en-US">
                <a:ln w="0"/>
                <a:effectLst>
                  <a:outerShdw blurRad="38100" dist="19050" dir="2700000" algn="tl" rotWithShape="0">
                    <a:schemeClr val="dk1">
                      <a:alpha val="40000"/>
                    </a:schemeClr>
                  </a:outerShdw>
                </a:effectLst>
              </a:rPr>
              <a:t>Statistics in SQL Pool are potentially more impactful than in a regular SQL database, because they impact performance at multiple layers (DW and SQL), and in the distributed query plan, the impact can be cumulative across multiple steps.</a:t>
            </a:r>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10</a:t>
            </a:fld>
            <a:endParaRPr lang="en-US"/>
          </a:p>
        </p:txBody>
      </p:sp>
    </p:spTree>
    <p:extLst>
      <p:ext uri="{BB962C8B-B14F-4D97-AF65-F5344CB8AC3E}">
        <p14:creationId xmlns:p14="http://schemas.microsoft.com/office/powerpoint/2010/main" val="227340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ember Stats on compute nodes are always created without user interaction. User can’t access compute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0284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hows the architecture of our distributed statistics model where all </a:t>
            </a:r>
            <a:r>
              <a:rPr lang="en-GB" err="1"/>
              <a:t>fo</a:t>
            </a:r>
            <a:r>
              <a:rPr lang="en-GB"/>
              <a:t> the compute nodes have statistics, but we aggregate those together to keep  an aggregated statistics on the control node that is used for MPP plans</a:t>
            </a:r>
          </a:p>
        </p:txBody>
      </p:sp>
      <p:sp>
        <p:nvSpPr>
          <p:cNvPr id="4" name="Slide Number Placeholder 3"/>
          <p:cNvSpPr>
            <a:spLocks noGrp="1"/>
          </p:cNvSpPr>
          <p:nvPr>
            <p:ph type="sldNum" sz="quarter" idx="10"/>
          </p:nvPr>
        </p:nvSpPr>
        <p:spPr/>
        <p:txBody>
          <a:bodyPr/>
          <a:lstStyle/>
          <a:p>
            <a:fld id="{1CF4140E-DA3E-4D22-855A-D2DA058258F9}" type="slidenum">
              <a:rPr lang="en-GB" smtClean="0"/>
              <a:t>12</a:t>
            </a:fld>
            <a:endParaRPr lang="en-GB"/>
          </a:p>
        </p:txBody>
      </p:sp>
    </p:spTree>
    <p:extLst>
      <p:ext uri="{BB962C8B-B14F-4D97-AF65-F5344CB8AC3E}">
        <p14:creationId xmlns:p14="http://schemas.microsoft.com/office/powerpoint/2010/main" val="537747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is slide is showing columns that you should have statistics on for best query performance</a:t>
            </a:r>
          </a:p>
          <a:p>
            <a:pPr marL="171450" indent="-171450">
              <a:buFont typeface="Arial" panose="020B0604020202020204" pitchFamily="34" charset="0"/>
              <a:buChar char="•"/>
            </a:pPr>
            <a:r>
              <a:rPr lang="en-US"/>
              <a:t>All of these query operators will use statistics in different ways to estimate the results and could significantly impact the MPP query plan. </a:t>
            </a:r>
          </a:p>
        </p:txBody>
      </p:sp>
      <p:sp>
        <p:nvSpPr>
          <p:cNvPr id="4" name="Slide Number Placeholder 3"/>
          <p:cNvSpPr>
            <a:spLocks noGrp="1"/>
          </p:cNvSpPr>
          <p:nvPr>
            <p:ph type="sldNum" sz="quarter" idx="10"/>
          </p:nvPr>
        </p:nvSpPr>
        <p:spPr/>
        <p:txBody>
          <a:bodyPr/>
          <a:lstStyle/>
          <a:p>
            <a:fld id="{1CF4140E-DA3E-4D22-855A-D2DA058258F9}" type="slidenum">
              <a:rPr lang="en-GB" smtClean="0"/>
              <a:t>13</a:t>
            </a:fld>
            <a:endParaRPr lang="en-GB"/>
          </a:p>
        </p:txBody>
      </p:sp>
    </p:spTree>
    <p:extLst>
      <p:ext uri="{BB962C8B-B14F-4D97-AF65-F5344CB8AC3E}">
        <p14:creationId xmlns:p14="http://schemas.microsoft.com/office/powerpoint/2010/main" val="2830753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a:solidFill>
                  <a:schemeClr val="tx1"/>
                </a:solidFill>
                <a:effectLst/>
                <a:latin typeface="Segoe UI Light" pitchFamily="34" charset="0"/>
                <a:ea typeface="+mn-ea"/>
                <a:cs typeface="+mn-cs"/>
              </a:rPr>
              <a:t>Statistics for query optimization are binary large objects (BLOBs) that contain statistical information about the distribution of values in one or more columns of a table or indexed view. The Query Optimizer uses these statistics to estimate the </a:t>
            </a:r>
            <a:r>
              <a:rPr lang="en-US" sz="900" b="0" i="1" kern="1200">
                <a:solidFill>
                  <a:schemeClr val="tx1"/>
                </a:solidFill>
                <a:effectLst/>
                <a:latin typeface="Segoe UI Light" pitchFamily="34" charset="0"/>
                <a:ea typeface="+mn-ea"/>
                <a:cs typeface="+mn-cs"/>
              </a:rPr>
              <a:t>cardinality</a:t>
            </a:r>
            <a:r>
              <a:rPr lang="en-US" sz="900" b="0" i="0" kern="1200">
                <a:solidFill>
                  <a:schemeClr val="tx1"/>
                </a:solidFill>
                <a:effectLst/>
                <a:latin typeface="Segoe UI Light" pitchFamily="34" charset="0"/>
                <a:ea typeface="+mn-ea"/>
                <a:cs typeface="+mn-cs"/>
              </a:rPr>
              <a:t>, or number of rows, in the query result. These </a:t>
            </a:r>
            <a:r>
              <a:rPr lang="en-US" sz="900" b="0" i="1" kern="1200">
                <a:solidFill>
                  <a:schemeClr val="tx1"/>
                </a:solidFill>
                <a:effectLst/>
                <a:latin typeface="Segoe UI Light" pitchFamily="34" charset="0"/>
                <a:ea typeface="+mn-ea"/>
                <a:cs typeface="+mn-cs"/>
              </a:rPr>
              <a:t>cardinality estimates</a:t>
            </a:r>
            <a:r>
              <a:rPr lang="en-US" sz="900" b="0" i="0" kern="1200">
                <a:solidFill>
                  <a:schemeClr val="tx1"/>
                </a:solidFill>
                <a:effectLst/>
                <a:latin typeface="Segoe UI Light" pitchFamily="34" charset="0"/>
                <a:ea typeface="+mn-ea"/>
                <a:cs typeface="+mn-cs"/>
              </a:rPr>
              <a:t> enable the Query Optimizer to create a high-quality query plan. For example, depending on your predicates, the Query Optimizer could use cardinality estimates to choose the index seek operator instead of the more resource-intensive index scan operator, if doing so improves query performance.</a:t>
            </a:r>
          </a:p>
          <a:p>
            <a:r>
              <a:rPr lang="en-US" sz="900" b="0" i="0" kern="1200">
                <a:solidFill>
                  <a:schemeClr val="tx1"/>
                </a:solidFill>
                <a:effectLst/>
                <a:latin typeface="Segoe UI Light" pitchFamily="34" charset="0"/>
                <a:ea typeface="+mn-ea"/>
                <a:cs typeface="+mn-cs"/>
              </a:rPr>
              <a:t>Each statistics object is created on a list of one or more table columns and includes a </a:t>
            </a:r>
            <a:r>
              <a:rPr lang="en-US" sz="900" b="0" i="1" kern="1200">
                <a:solidFill>
                  <a:schemeClr val="tx1"/>
                </a:solidFill>
                <a:effectLst/>
                <a:latin typeface="Segoe UI Light" pitchFamily="34" charset="0"/>
                <a:ea typeface="+mn-ea"/>
                <a:cs typeface="+mn-cs"/>
              </a:rPr>
              <a:t>histogram</a:t>
            </a:r>
            <a:r>
              <a:rPr lang="en-US" sz="900" b="0" i="0" kern="1200">
                <a:solidFill>
                  <a:schemeClr val="tx1"/>
                </a:solidFill>
                <a:effectLst/>
                <a:latin typeface="Segoe UI Light" pitchFamily="34" charset="0"/>
                <a:ea typeface="+mn-ea"/>
                <a:cs typeface="+mn-cs"/>
              </a:rPr>
              <a:t> displaying the distribution of values in the first column. Statistics objects on multiple columns also store statistical information about the correlation of values among the columns. These correlation statistics, or </a:t>
            </a:r>
            <a:r>
              <a:rPr lang="en-US" sz="900" b="0" i="1" kern="1200">
                <a:solidFill>
                  <a:schemeClr val="tx1"/>
                </a:solidFill>
                <a:effectLst/>
                <a:latin typeface="Segoe UI Light" pitchFamily="34" charset="0"/>
                <a:ea typeface="+mn-ea"/>
                <a:cs typeface="+mn-cs"/>
              </a:rPr>
              <a:t>densities</a:t>
            </a:r>
            <a:r>
              <a:rPr lang="en-US" sz="900" b="0" i="0" kern="1200">
                <a:solidFill>
                  <a:schemeClr val="tx1"/>
                </a:solidFill>
                <a:effectLst/>
                <a:latin typeface="Segoe UI Light" pitchFamily="34" charset="0"/>
                <a:ea typeface="+mn-ea"/>
                <a:cs typeface="+mn-cs"/>
              </a:rPr>
              <a:t>, are derived from the number of distinct rows of column values.</a:t>
            </a:r>
          </a:p>
          <a:p>
            <a:endParaRPr lang="en-US">
              <a:hlinkClick r:id="rId3"/>
            </a:endParaRPr>
          </a:p>
          <a:p>
            <a:r>
              <a:rPr lang="en-US">
                <a:hlinkClick r:id="rId3"/>
              </a:rPr>
              <a:t>https://docs.microsoft.com/en-us/sql/relational-databases/statistics/statistics?view=sql-server-ver15</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1955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1007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755394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Undocumented features are not supported</a:t>
            </a:r>
          </a:p>
          <a:p>
            <a:pPr rtl="0"/>
            <a:r>
              <a:rPr lang="en-US" dirty="0"/>
              <a:t>Cannot use </a:t>
            </a:r>
            <a:r>
              <a:rPr lang="en-US" dirty="0" err="1"/>
              <a:t>Stats_stream</a:t>
            </a:r>
            <a:endParaRPr lang="en-US" dirty="0"/>
          </a:p>
          <a:p>
            <a:pPr rtl="0"/>
            <a:r>
              <a:rPr lang="en-US" dirty="0"/>
              <a:t>Cannot join results for specific subsets of statistics data e.g. (STAT_HEADER JOIN DENSITY_VECTOR)</a:t>
            </a:r>
          </a:p>
          <a:p>
            <a:pPr rtl="0"/>
            <a:r>
              <a:rPr lang="en-US" dirty="0"/>
              <a:t>NO_INFOMSGS cannot be set for message suppression</a:t>
            </a:r>
          </a:p>
          <a:p>
            <a:pPr rtl="0"/>
            <a:r>
              <a:rPr lang="en-US" dirty="0"/>
              <a:t>Square brackets around statistics names cannot be used</a:t>
            </a:r>
          </a:p>
          <a:p>
            <a:pPr rtl="0"/>
            <a:r>
              <a:rPr lang="en-US" dirty="0"/>
              <a:t>Cannot use column names to identify statistics objects</a:t>
            </a:r>
          </a:p>
          <a:p>
            <a:pPr rtl="0"/>
            <a:r>
              <a:rPr lang="en-US" dirty="0"/>
              <a:t>Custom error 2767 is not supported</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CF4140E-DA3E-4D22-855A-D2DA058258F9}"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68689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FULLSCAN</a:t>
            </a:r>
            <a:r>
              <a:rPr lang="en-GB" baseline="0"/>
              <a:t> is optional</a:t>
            </a:r>
          </a:p>
          <a:p>
            <a:pPr marL="171450" indent="-171450">
              <a:buFont typeface="Arial" panose="020B0604020202020204" pitchFamily="34" charset="0"/>
              <a:buChar char="•"/>
            </a:pPr>
            <a:r>
              <a:rPr lang="en-GB" baseline="0"/>
              <a:t>Default sample size is used 20 percent</a:t>
            </a:r>
          </a:p>
          <a:p>
            <a:pPr marL="171450" indent="-171450">
              <a:buFont typeface="Arial" panose="020B0604020202020204" pitchFamily="34" charset="0"/>
              <a:buChar char="•"/>
            </a:pPr>
            <a:endParaRPr lang="en-GB" baseline="0"/>
          </a:p>
          <a:p>
            <a:pPr marL="0" indent="0">
              <a:buFont typeface="Arial" panose="020B0604020202020204" pitchFamily="34" charset="0"/>
              <a:buNone/>
            </a:pPr>
            <a:r>
              <a:rPr lang="en-GB" baseline="0"/>
              <a:t>Remember distributed tables are already split into distributions and so the distributions are sampled in parallel</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9C76402-D1A9-486A-BEB4-DA56F823584E}"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357021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Automatic creation of statistics</a:t>
            </a:r>
          </a:p>
          <a:p>
            <a:pPr algn="l"/>
            <a:r>
              <a:rPr lang="en-US" b="0" i="0">
                <a:solidFill>
                  <a:srgbClr val="171717"/>
                </a:solidFill>
                <a:effectLst/>
                <a:latin typeface="Segoe UI" panose="020B0502040204020203" pitchFamily="34" charset="0"/>
              </a:rPr>
              <a:t>SQL pool will analyze incoming user queries for missing statistics when the database AUTO_CREATE_STATISTICS option is set to ON. If statistics are missing, the query optimizer creates statistics on individual columns in the query predicate or join condition.</a:t>
            </a:r>
          </a:p>
          <a:p>
            <a:pPr algn="l"/>
            <a:r>
              <a:rPr lang="en-US" b="0" i="0">
                <a:solidFill>
                  <a:srgbClr val="171717"/>
                </a:solidFill>
                <a:effectLst/>
                <a:latin typeface="Segoe UI" panose="020B0502040204020203" pitchFamily="34" charset="0"/>
              </a:rPr>
              <a:t>This function is used to improve cardinality estimates for the query plan.</a:t>
            </a:r>
          </a:p>
          <a:p>
            <a:pPr algn="l"/>
            <a:endParaRPr lang="en-US" b="1"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Important</a:t>
            </a:r>
          </a:p>
          <a:p>
            <a:pPr algn="l"/>
            <a:r>
              <a:rPr lang="en-US" b="0" i="0">
                <a:solidFill>
                  <a:srgbClr val="171717"/>
                </a:solidFill>
                <a:effectLst/>
                <a:latin typeface="Segoe UI" panose="020B0502040204020203" pitchFamily="34" charset="0"/>
              </a:rPr>
              <a:t>Automatic creation of statistics is currently turned on by default.</a:t>
            </a:r>
          </a:p>
          <a:p>
            <a:pPr algn="l"/>
            <a:r>
              <a:rPr lang="en-US" b="0" i="0">
                <a:solidFill>
                  <a:srgbClr val="171717"/>
                </a:solidFill>
                <a:effectLst/>
                <a:latin typeface="Segoe UI" panose="020B0502040204020203" pitchFamily="34" charset="0"/>
              </a:rPr>
              <a:t>You can check if your data warehouse has AUTO_CREATE_STATISTICS configured by running the following command:</a:t>
            </a:r>
          </a:p>
          <a:p>
            <a:pPr algn="l"/>
            <a:r>
              <a:rPr lang="en-US">
                <a:solidFill>
                  <a:srgbClr val="0101FD"/>
                </a:solidFill>
                <a:effectLst/>
              </a:rPr>
              <a:t>SELECT</a:t>
            </a:r>
            <a:r>
              <a:rPr lang="en-US">
                <a:effectLst/>
              </a:rPr>
              <a:t> </a:t>
            </a:r>
            <a:r>
              <a:rPr lang="en-US">
                <a:solidFill>
                  <a:srgbClr val="0101FD"/>
                </a:solidFill>
                <a:effectLst/>
              </a:rPr>
              <a:t>name</a:t>
            </a:r>
            <a:r>
              <a:rPr lang="en-US">
                <a:effectLst/>
              </a:rPr>
              <a:t>, </a:t>
            </a:r>
            <a:r>
              <a:rPr lang="en-US" err="1">
                <a:effectLst/>
              </a:rPr>
              <a:t>is_auto_create_stats_on</a:t>
            </a:r>
            <a:r>
              <a:rPr lang="en-US">
                <a:effectLst/>
              </a:rPr>
              <a:t> </a:t>
            </a:r>
            <a:r>
              <a:rPr lang="en-US">
                <a:solidFill>
                  <a:srgbClr val="0101FD"/>
                </a:solidFill>
                <a:effectLst/>
              </a:rPr>
              <a:t>FROM</a:t>
            </a:r>
            <a:r>
              <a:rPr lang="en-US">
                <a:effectLst/>
              </a:rPr>
              <a:t> sys.databases </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If your data warehouse doesn't have AUTO_CREATE_STATISTICS enabled, consider enabling this property by running the following command:</a:t>
            </a:r>
          </a:p>
          <a:p>
            <a:r>
              <a:rPr lang="en-US">
                <a:solidFill>
                  <a:srgbClr val="0101FD"/>
                </a:solidFill>
                <a:effectLst/>
              </a:rPr>
              <a:t>ALTER</a:t>
            </a:r>
            <a:r>
              <a:rPr lang="en-US">
                <a:effectLst/>
              </a:rPr>
              <a:t> </a:t>
            </a:r>
            <a:r>
              <a:rPr lang="en-US">
                <a:solidFill>
                  <a:srgbClr val="0101FD"/>
                </a:solidFill>
                <a:effectLst/>
              </a:rPr>
              <a:t>DATABASE</a:t>
            </a:r>
            <a:r>
              <a:rPr lang="en-US">
                <a:effectLst/>
              </a:rPr>
              <a:t> &lt;</a:t>
            </a:r>
            <a:r>
              <a:rPr lang="en-US" err="1">
                <a:effectLst/>
              </a:rPr>
              <a:t>yourdatawarehousename</a:t>
            </a:r>
            <a:r>
              <a:rPr lang="en-US">
                <a:effectLst/>
              </a:rPr>
              <a:t>&gt; </a:t>
            </a:r>
            <a:r>
              <a:rPr lang="en-US">
                <a:solidFill>
                  <a:srgbClr val="0101FD"/>
                </a:solidFill>
                <a:effectLst/>
              </a:rPr>
              <a:t>SET</a:t>
            </a:r>
            <a:r>
              <a:rPr lang="en-US">
                <a:effectLst/>
              </a:rPr>
              <a:t> AUTO_CREATE_STATISTICS </a:t>
            </a:r>
            <a:r>
              <a:rPr lang="en-US">
                <a:solidFill>
                  <a:srgbClr val="0101FD"/>
                </a:solidFill>
                <a:effectLst/>
              </a:rPr>
              <a:t>ON</a:t>
            </a:r>
          </a:p>
          <a:p>
            <a:r>
              <a:rPr lang="en-US">
                <a:solidFill>
                  <a:srgbClr val="0101FD"/>
                </a:solidFill>
                <a:effectLst/>
              </a:rPr>
              <a:t>Remember to TEST before enabling in your production environment.</a:t>
            </a:r>
            <a:endParaRPr lang="en-GB"/>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CF4140E-DA3E-4D22-855A-D2DA058258F9}"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62414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171717"/>
                </a:solidFill>
                <a:effectLst/>
                <a:latin typeface="Segoe UI" panose="020B0502040204020203" pitchFamily="34" charset="0"/>
              </a:rPr>
              <a:t>Automatic creation of statistics is done synchronously. So, you may incur slightly degraded query performance if your columns are missing statistics. The time to create statistics for a single column depends on the size of the table.</a:t>
            </a:r>
          </a:p>
          <a:p>
            <a:pPr algn="l"/>
            <a:r>
              <a:rPr lang="en-US" b="0" i="0">
                <a:solidFill>
                  <a:srgbClr val="171717"/>
                </a:solidFill>
                <a:effectLst/>
                <a:latin typeface="Segoe UI" panose="020B0502040204020203" pitchFamily="34" charset="0"/>
              </a:rPr>
              <a:t>To avoid measurable performance degradation, you should ensure stats have been created first by executing the benchmark workload before profiling the system.</a:t>
            </a:r>
          </a:p>
          <a:p>
            <a:r>
              <a:rPr lang="en-US" b="0" i="0">
                <a:solidFill>
                  <a:srgbClr val="171717"/>
                </a:solidFill>
                <a:effectLst/>
                <a:latin typeface="Segoe UI" panose="020B0502040204020203" pitchFamily="34" charset="0"/>
              </a:rPr>
              <a:t>The creation of stats is logged in </a:t>
            </a:r>
            <a:r>
              <a:rPr lang="en-US" b="1" i="0" u="sng" err="1">
                <a:effectLst/>
                <a:latin typeface="Segoe UI" panose="020B0502040204020203" pitchFamily="34" charset="0"/>
                <a:hlinkClick r:id="rId3"/>
              </a:rPr>
              <a:t>sys.dm_pdw_exec_requests</a:t>
            </a:r>
            <a:r>
              <a:rPr lang="en-US" b="0" i="0">
                <a:solidFill>
                  <a:srgbClr val="171717"/>
                </a:solidFill>
                <a:effectLst/>
                <a:latin typeface="Segoe UI" panose="020B0502040204020203" pitchFamily="34" charset="0"/>
              </a:rPr>
              <a:t> under a different user context.</a:t>
            </a:r>
          </a:p>
          <a:p>
            <a:endParaRPr lang="en-US" b="0" i="0">
              <a:solidFill>
                <a:srgbClr val="171717"/>
              </a:solidFill>
              <a:effectLst/>
              <a:latin typeface="Segoe UI" panose="020B0502040204020203" pitchFamily="34" charset="0"/>
            </a:endParaRPr>
          </a:p>
          <a:p>
            <a:pPr algn="l"/>
            <a:r>
              <a:rPr lang="en-US" b="1" i="0">
                <a:solidFill>
                  <a:srgbClr val="171717"/>
                </a:solidFill>
                <a:effectLst/>
                <a:latin typeface="Segoe UI" panose="020B0502040204020203" pitchFamily="34" charset="0"/>
              </a:rPr>
              <a:t>Implement statistics management</a:t>
            </a:r>
          </a:p>
          <a:p>
            <a:pPr algn="l"/>
            <a:r>
              <a:rPr lang="en-US" b="0" i="0">
                <a:solidFill>
                  <a:srgbClr val="171717"/>
                </a:solidFill>
                <a:effectLst/>
                <a:latin typeface="Segoe UI" panose="020B0502040204020203" pitchFamily="34" charset="0"/>
              </a:rPr>
              <a:t>It's often a good idea to extend your data-loading process to ensure that statistics are updated at the end of the load. The data load is when tables most frequently change their size, distribution of values, or both. As such, the load process is a logical place to implement some management processes.</a:t>
            </a:r>
          </a:p>
          <a:p>
            <a:endParaRPr lang="en-GB"/>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CF4140E-DA3E-4D22-855A-D2DA058258F9}"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77218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43454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131806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Exponential Back-Off</a:t>
            </a:r>
            <a:r>
              <a:rPr lang="en-GB" baseline="0"/>
              <a:t> Strategy used by new CE model does not consider multi-column stats even when the multi-column stat covers all columns in the filter predicates</a:t>
            </a:r>
          </a:p>
          <a:p>
            <a:pPr marL="171450" indent="-171450">
              <a:buFont typeface="Arial" panose="020B0604020202020204" pitchFamily="34" charset="0"/>
              <a:buChar char="•"/>
            </a:pPr>
            <a:r>
              <a:rPr lang="en-US" sz="900" b="0" i="0" kern="1200">
                <a:solidFill>
                  <a:schemeClr val="tx1"/>
                </a:solidFill>
                <a:effectLst/>
                <a:latin typeface="Segoe UI Light" pitchFamily="34" charset="0"/>
                <a:ea typeface="+mn-ea"/>
                <a:cs typeface="+mn-cs"/>
              </a:rPr>
              <a:t>The histogram, which is used to estimate the number of rows in the query result, is only available for the first column listed in the statistics object defini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Segoe UI Light"/>
                <a:ea typeface="+mn-ea"/>
                <a:cs typeface="+mn-cs"/>
              </a:rPr>
              <a:t>Even when the filters are on the same table the new CE model will not use a multi-column stat.</a:t>
            </a:r>
          </a:p>
          <a:p>
            <a:pPr marL="171450" indent="-171450">
              <a:buFont typeface="Arial" panose="020B0604020202020204" pitchFamily="34" charset="0"/>
              <a:buChar char="•"/>
            </a:pPr>
            <a:endParaRPr lang="en-GB" baseline="0"/>
          </a:p>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9C76402-D1A9-486A-BEB4-DA56F823584E}"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6349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a:solidFill>
                  <a:schemeClr val="tx1"/>
                </a:solidFill>
                <a:effectLst/>
                <a:latin typeface="Segoe UI Light" pitchFamily="34" charset="0"/>
                <a:ea typeface="+mn-ea"/>
                <a:cs typeface="+mn-cs"/>
              </a:rPr>
              <a:t>For the query optimizer to consider using filtered statistics when it chooses the distributed query plan, the query must fit inside the definition of the statistics object. Using the previous example, the query's WHERE clause needs to specify col1 values between 2000101 and 20001231.</a:t>
            </a: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30472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524380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171717"/>
                </a:solidFill>
                <a:effectLst/>
                <a:latin typeface="Segoe UI" panose="020B0502040204020203" pitchFamily="34" charset="0"/>
              </a:rPr>
              <a:t>Why use statistics</a:t>
            </a:r>
          </a:p>
          <a:p>
            <a:pPr algn="l"/>
            <a:r>
              <a:rPr lang="en-US" b="0" i="0">
                <a:solidFill>
                  <a:srgbClr val="171717"/>
                </a:solidFill>
                <a:effectLst/>
                <a:latin typeface="Segoe UI" panose="020B0502040204020203" pitchFamily="34" charset="0"/>
              </a:rPr>
              <a:t>The more the SQL pool resource knows about your data, the faster it can execute queries. After loading data into SQL pool, collecting statistics on your data is one of the most important things you can do for query optimization.</a:t>
            </a:r>
          </a:p>
          <a:p>
            <a:pPr algn="l"/>
            <a:r>
              <a:rPr lang="en-US" b="0" i="0">
                <a:solidFill>
                  <a:srgbClr val="171717"/>
                </a:solidFill>
                <a:effectLst/>
                <a:latin typeface="Segoe UI" panose="020B0502040204020203" pitchFamily="34" charset="0"/>
              </a:rPr>
              <a:t>The SQL pool query optimizer is a cost-based optimizer. It compares the cost of various query plans, and then chooses the plan with the lowest cost. In most cases, it chooses the plan that will execute the fastest.</a:t>
            </a:r>
          </a:p>
          <a:p>
            <a:pPr algn="l"/>
            <a:r>
              <a:rPr lang="en-US" b="0" i="0">
                <a:solidFill>
                  <a:srgbClr val="171717"/>
                </a:solidFill>
                <a:effectLst/>
                <a:latin typeface="Segoe UI" panose="020B0502040204020203" pitchFamily="34" charset="0"/>
              </a:rPr>
              <a:t>For example, if the optimizer estimates that the date your query is filtering on will return one row, it will choose one plan. If it estimates that the selected date will return 1 million rows, it will return a different plan.</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4/20/2022 8: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404647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Predicate Definition</a:t>
            </a:r>
          </a:p>
          <a:p>
            <a:r>
              <a:rPr lang="en-GB" b="0"/>
              <a:t>An</a:t>
            </a:r>
            <a:r>
              <a:rPr lang="en-GB" b="0" baseline="0"/>
              <a:t> expression that evaluates to TRUE, FALSE or UNKNOWN</a:t>
            </a:r>
          </a:p>
          <a:p>
            <a:endParaRPr lang="en-GB" b="0" baseline="0"/>
          </a:p>
          <a:p>
            <a:endParaRPr lang="en-GB" b="0" baseline="0"/>
          </a:p>
          <a:p>
            <a:r>
              <a:rPr lang="en-GB">
                <a:solidFill>
                  <a:srgbClr val="0078D7"/>
                </a:solidFill>
              </a:rPr>
              <a:t>Cardinality Definition : </a:t>
            </a:r>
            <a:r>
              <a:rPr lang="en-GB" sz="900" i="1" kern="1200">
                <a:solidFill>
                  <a:schemeClr val="tx1"/>
                </a:solidFill>
                <a:latin typeface="Segoe UI Light" pitchFamily="34" charset="0"/>
                <a:ea typeface="+mn-ea"/>
                <a:cs typeface="+mn-cs"/>
              </a:rPr>
              <a:t>The process of estimating the number of rows flowing through the operators of a query execution plan</a:t>
            </a:r>
            <a:endParaRPr lang="en-GB" b="0" baseline="0"/>
          </a:p>
          <a:p>
            <a:endParaRPr lang="en-GB" b="0"/>
          </a:p>
          <a:p>
            <a:r>
              <a:rPr lang="en-GB" b="0"/>
              <a:t># rows resulting from a join is used to decide what type of table the results should be stored in - typically replicated (broadcast move) or distributed (shuffle move). Choosing the wrong table type can be detrimental to the plan. </a:t>
            </a:r>
          </a:p>
        </p:txBody>
      </p:sp>
      <p:sp>
        <p:nvSpPr>
          <p:cNvPr id="4" name="Slide Number Placeholder 3"/>
          <p:cNvSpPr>
            <a:spLocks noGrp="1"/>
          </p:cNvSpPr>
          <p:nvPr>
            <p:ph type="sldNum" sz="quarter" idx="10"/>
          </p:nvPr>
        </p:nvSpPr>
        <p:spPr/>
        <p:txBody>
          <a:bodyPr/>
          <a:lstStyle/>
          <a:p>
            <a:fld id="{1CF4140E-DA3E-4D22-855A-D2DA058258F9}" type="slidenum">
              <a:rPr lang="en-GB" smtClean="0"/>
              <a:t>5</a:t>
            </a:fld>
            <a:endParaRPr lang="en-GB"/>
          </a:p>
        </p:txBody>
      </p:sp>
    </p:spTree>
    <p:extLst>
      <p:ext uri="{BB962C8B-B14F-4D97-AF65-F5344CB8AC3E}">
        <p14:creationId xmlns:p14="http://schemas.microsoft.com/office/powerpoint/2010/main" val="1719490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ulti column filters on the same table are not candidates for</a:t>
            </a:r>
            <a:r>
              <a:rPr lang="en-GB" baseline="0"/>
              <a:t> a multi-column stat as this is not enabled by the optimiser</a:t>
            </a:r>
            <a:endParaRPr lang="en-GB"/>
          </a:p>
        </p:txBody>
      </p:sp>
      <p:sp>
        <p:nvSpPr>
          <p:cNvPr id="4" name="Slide Number Placeholder 3"/>
          <p:cNvSpPr>
            <a:spLocks noGrp="1"/>
          </p:cNvSpPr>
          <p:nvPr>
            <p:ph type="sldNum" sz="quarter" idx="10"/>
          </p:nvPr>
        </p:nvSpPr>
        <p:spPr/>
        <p:txBody>
          <a:bodyPr/>
          <a:lstStyle/>
          <a:p>
            <a:fld id="{1CF4140E-DA3E-4D22-855A-D2DA058258F9}" type="slidenum">
              <a:rPr lang="en-GB" smtClean="0"/>
              <a:t>6</a:t>
            </a:fld>
            <a:endParaRPr lang="en-GB"/>
          </a:p>
        </p:txBody>
      </p:sp>
    </p:spTree>
    <p:extLst>
      <p:ext uri="{BB962C8B-B14F-4D97-AF65-F5344CB8AC3E}">
        <p14:creationId xmlns:p14="http://schemas.microsoft.com/office/powerpoint/2010/main" val="3454141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a:t>SQL Pools uses a cost-based</a:t>
            </a:r>
            <a:r>
              <a:rPr lang="en-GB" baseline="0"/>
              <a:t> optimiser for both MPP plan generation and SMP plan generation.</a:t>
            </a:r>
            <a:endParaRPr lang="en-GB"/>
          </a:p>
          <a:p>
            <a:pPr marL="0" indent="0">
              <a:buFont typeface="Arial" panose="020B0604020202020204" pitchFamily="34" charset="0"/>
              <a:buNone/>
            </a:pPr>
            <a:endParaRPr lang="en-GB"/>
          </a:p>
          <a:p>
            <a:pPr marL="171450" indent="-171450">
              <a:buFont typeface="Arial" panose="020B0604020202020204" pitchFamily="34" charset="0"/>
              <a:buChar char="•"/>
            </a:pPr>
            <a:r>
              <a:rPr lang="en-GB"/>
              <a:t>Queries are declarative</a:t>
            </a:r>
            <a:r>
              <a:rPr lang="en-GB" baseline="0"/>
              <a:t> - </a:t>
            </a:r>
            <a:r>
              <a:rPr lang="en-GB"/>
              <a:t>Statements of intent</a:t>
            </a:r>
          </a:p>
          <a:p>
            <a:pPr marL="171450" indent="-171450">
              <a:buFont typeface="Arial" panose="020B0604020202020204" pitchFamily="34" charset="0"/>
              <a:buChar char="•"/>
            </a:pPr>
            <a:r>
              <a:rPr lang="en-GB"/>
              <a:t>Users do not tell Query optimizer </a:t>
            </a:r>
            <a:r>
              <a:rPr lang="en-GB" b="1"/>
              <a:t>how </a:t>
            </a:r>
            <a:r>
              <a:rPr lang="en-GB" b="0"/>
              <a:t>to</a:t>
            </a:r>
            <a:r>
              <a:rPr lang="en-GB" b="0" baseline="0"/>
              <a:t> resolve the query</a:t>
            </a:r>
            <a:endParaRPr lang="en-GB" b="1"/>
          </a:p>
          <a:p>
            <a:pPr marL="171450" indent="-171450">
              <a:buFont typeface="Arial" panose="020B0604020202020204" pitchFamily="34" charset="0"/>
              <a:buChar char="•"/>
            </a:pPr>
            <a:r>
              <a:rPr lang="en-GB"/>
              <a:t>Execution</a:t>
            </a:r>
            <a:r>
              <a:rPr lang="en-GB" baseline="0"/>
              <a:t> Plans are SQL Server’s way of telling you how it plans to resolve your query</a:t>
            </a:r>
            <a:endParaRPr lang="en-GB"/>
          </a:p>
        </p:txBody>
      </p:sp>
      <p:sp>
        <p:nvSpPr>
          <p:cNvPr id="4" name="Slide Number Placeholder 3"/>
          <p:cNvSpPr>
            <a:spLocks noGrp="1"/>
          </p:cNvSpPr>
          <p:nvPr>
            <p:ph type="sldNum" sz="quarter" idx="10"/>
          </p:nvPr>
        </p:nvSpPr>
        <p:spPr/>
        <p:txBody>
          <a:bodyPr/>
          <a:lstStyle/>
          <a:p>
            <a:fld id="{D9C76402-D1A9-486A-BEB4-DA56F823584E}" type="slidenum">
              <a:rPr lang="en-GB" smtClean="0"/>
              <a:t>7</a:t>
            </a:fld>
            <a:endParaRPr lang="en-GB"/>
          </a:p>
        </p:txBody>
      </p:sp>
    </p:spTree>
    <p:extLst>
      <p:ext uri="{BB962C8B-B14F-4D97-AF65-F5344CB8AC3E}">
        <p14:creationId xmlns:p14="http://schemas.microsoft.com/office/powerpoint/2010/main" val="38091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GB"/>
              <a:t>The </a:t>
            </a:r>
            <a:r>
              <a:rPr lang="en-US"/>
              <a:t>Shell database is an empty copy of the user database that is stored on the control node. This database holds no data, it is used as the definition of the database structure (Tables, Views, </a:t>
            </a:r>
            <a:r>
              <a:rPr lang="en-US" err="1"/>
              <a:t>etc</a:t>
            </a:r>
            <a:r>
              <a:rPr lang="en-US"/>
              <a:t>), and holds the aggregated statistics from each of the distributions.</a:t>
            </a:r>
          </a:p>
          <a:p>
            <a:pPr defTabSz="931774">
              <a:defRPr/>
            </a:pPr>
            <a:endParaRPr lang="en-US"/>
          </a:p>
          <a:p>
            <a:pPr defTabSz="931774">
              <a:defRPr/>
            </a:pPr>
            <a:r>
              <a:rPr lang="en-US"/>
              <a:t>The aggregated statistics are used to compute the least cost distributed query, in this case, the least cost is the minimum amount of data movement needed to satisfy the query.</a:t>
            </a:r>
          </a:p>
          <a:p>
            <a:pPr defTabSz="931774">
              <a:defRPr/>
            </a:pPr>
            <a:endParaRPr lang="en-US"/>
          </a:p>
          <a:p>
            <a:pPr defTabSz="931774">
              <a:defRPr/>
            </a:pPr>
            <a:r>
              <a:rPr lang="en-US"/>
              <a:t>A big difference with DW vs SQL Server query plans, is that the DW query plan is commonly a multi-step process, with temporary tables created to hold the output of data movement operations. If the initial estimate is significantly inaccurate resulting in a larger intermediate resultset, the estimated plan will get progressively more inaccurate as subsequent steps build on the first steps. </a:t>
            </a:r>
          </a:p>
          <a:p>
            <a:endParaRPr lang="en-GB"/>
          </a:p>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8</a:t>
            </a:fld>
            <a:endParaRPr lang="en-US"/>
          </a:p>
        </p:txBody>
      </p:sp>
    </p:spTree>
    <p:extLst>
      <p:ext uri="{BB962C8B-B14F-4D97-AF65-F5344CB8AC3E}">
        <p14:creationId xmlns:p14="http://schemas.microsoft.com/office/powerpoint/2010/main" val="1562521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t>The statistics on the Distributions are used the same as any SQL query, to create an efficient SQL Server query plan to resolve the query as efficiently as possible.</a:t>
            </a:r>
          </a:p>
          <a:p>
            <a:endParaRPr lang="en-GB"/>
          </a:p>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9</a:t>
            </a:fld>
            <a:endParaRPr lang="en-US"/>
          </a:p>
        </p:txBody>
      </p:sp>
    </p:spTree>
    <p:extLst>
      <p:ext uri="{BB962C8B-B14F-4D97-AF65-F5344CB8AC3E}">
        <p14:creationId xmlns:p14="http://schemas.microsoft.com/office/powerpoint/2010/main" val="14875831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11879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27390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383495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17946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773210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938337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377866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872488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743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6185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03803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7778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3007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41124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46980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096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86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65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887269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258007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79248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42366775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a:prstGeom prst="rect">
            <a:avLst/>
          </a:prstGeom>
        </p:spPr>
        <p:txBody>
          <a:bodyPr/>
          <a:lstStyle>
            <a:lvl1pPr>
              <a:defRPr>
                <a:solidFill>
                  <a:schemeClr val="tx2"/>
                </a:solidFill>
              </a:defRPr>
            </a:lvl1pPr>
          </a:lstStyle>
          <a:p>
            <a:r>
              <a:rPr lang="en-US"/>
              <a:t>Click to edit Master title style</a:t>
            </a:r>
            <a:endParaRPr lang="en-GB"/>
          </a:p>
        </p:txBody>
      </p:sp>
      <p:sp>
        <p:nvSpPr>
          <p:cNvPr id="3" name="Text Placeholder 2"/>
          <p:cNvSpPr>
            <a:spLocks noGrp="1"/>
          </p:cNvSpPr>
          <p:nvPr>
            <p:ph type="body" idx="1"/>
          </p:nvPr>
        </p:nvSpPr>
        <p:spPr>
          <a:xfrm>
            <a:off x="856628" y="1466057"/>
            <a:ext cx="5261211" cy="1088888"/>
          </a:xfrm>
          <a:prstGeom prst="rect">
            <a:avLst/>
          </a:prstGeom>
        </p:spPr>
        <p:txBody>
          <a:bodyPr anchor="b"/>
          <a:lstStyle>
            <a:lvl1pPr marL="0" indent="0">
              <a:buNone/>
              <a:defRPr sz="3264" b="1">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2646878"/>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1714631"/>
            <a:ext cx="5287122" cy="840314"/>
          </a:xfrm>
          <a:prstGeom prst="rect">
            <a:avLst/>
          </a:prstGeom>
        </p:spPr>
        <p:txBody>
          <a:bodyPr anchor="b">
            <a:noAutofit/>
          </a:bodyPr>
          <a:lstStyle>
            <a:lvl1pPr marL="0" indent="0">
              <a:buNone/>
              <a:defRPr sz="3264" b="1">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264687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 Microsoft 2014</a:t>
            </a:r>
          </a:p>
        </p:txBody>
      </p:sp>
      <p:sp>
        <p:nvSpPr>
          <p:cNvPr id="9" name="Slide Number Placeholder 8"/>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D75E92BD-1670-425B-83DE-6D52607E5D57}" type="slidenum">
              <a:rPr kumimoji="0" lang="en-GB"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14311940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13188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309753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77745739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5748725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091262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69110631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52182630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714541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622278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322242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3076453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93613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2748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874105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03721243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1827734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6535775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62039663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024650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900460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7049583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0997222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561830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3419619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4426299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8471424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5146535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44866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269225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7282951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3287573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0760547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44724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61058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863191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8535539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4664557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996679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451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23206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550123"/>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20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522369441"/>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97130902"/>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235568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4/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a:p>
        </p:txBody>
      </p:sp>
    </p:spTree>
    <p:extLst>
      <p:ext uri="{BB962C8B-B14F-4D97-AF65-F5344CB8AC3E}">
        <p14:creationId xmlns:p14="http://schemas.microsoft.com/office/powerpoint/2010/main" val="59743902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449382765"/>
      </p:ext>
    </p:extLst>
  </p:cSld>
  <p:clrMapOvr>
    <a:masterClrMapping/>
  </p:clrMapOvr>
  <p:transition>
    <p:fade/>
  </p:transition>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7783882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7176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90173806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03014699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826887917"/>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6780750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779279306"/>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60327962"/>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7800380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76568344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9794752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8105074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5575389"/>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0558380"/>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186376615"/>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546089390"/>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175040776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44302402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374605321"/>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80408790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95395589"/>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58255432"/>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2652669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07295330"/>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72394791"/>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7992237"/>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5159441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879422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89378306"/>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4849559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5149379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49598699"/>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58952106"/>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1961742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7592351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20801166"/>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7998375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66399085"/>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636130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4138363"/>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374748"/>
      </p:ext>
    </p:extLst>
  </p:cSld>
  <p:clrMapOvr>
    <a:masterClrMapping/>
  </p:clrMapOvr>
  <p:hf sldNum="0" hdr="0" ft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665054"/>
      </p:ext>
    </p:extLst>
  </p:cSld>
  <p:clrMapOvr>
    <a:masterClrMapping/>
  </p:clrMapOvr>
  <p:hf sldNum="0" hdr="0" ftr="0" dt="0"/>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87834960"/>
      </p:ext>
    </p:extLst>
  </p:cSld>
  <p:clrMapOvr>
    <a:masterClrMapping/>
  </p:clrMapOvr>
  <p:hf sldNum="0" hdr="0" ftr="0" dt="0"/>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605137092"/>
      </p:ext>
    </p:extLst>
  </p:cSld>
  <p:clrMapOvr>
    <a:masterClrMapping/>
  </p:clrMapOvr>
  <p:hf sldNum="0" hdr="0" ftr="0" dt="0"/>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81939816"/>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a:prstGeom prst="rect">
            <a:avLst/>
          </a:prstGeom>
        </p:spPr>
        <p:txBody>
          <a:bodyPr/>
          <a:lstStyle>
            <a:lvl1pPr>
              <a:defRPr>
                <a:solidFill>
                  <a:schemeClr val="tx2"/>
                </a:solidFill>
              </a:defRPr>
            </a:lvl1pPr>
          </a:lstStyle>
          <a:p>
            <a:r>
              <a:rPr lang="en-US"/>
              <a:t>Click to edit Master title style</a:t>
            </a:r>
            <a:endParaRPr lang="en-GB"/>
          </a:p>
        </p:txBody>
      </p:sp>
      <p:sp>
        <p:nvSpPr>
          <p:cNvPr id="3" name="Text Placeholder 2"/>
          <p:cNvSpPr>
            <a:spLocks noGrp="1"/>
          </p:cNvSpPr>
          <p:nvPr>
            <p:ph type="body" idx="1"/>
          </p:nvPr>
        </p:nvSpPr>
        <p:spPr>
          <a:xfrm>
            <a:off x="856628" y="1466057"/>
            <a:ext cx="5261211" cy="1088888"/>
          </a:xfrm>
          <a:prstGeom prst="rect">
            <a:avLst/>
          </a:prstGeom>
        </p:spPr>
        <p:txBody>
          <a:bodyPr anchor="b"/>
          <a:lstStyle>
            <a:lvl1pPr marL="0" indent="0">
              <a:buNone/>
              <a:defRPr sz="3264" b="1">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2646878"/>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1714631"/>
            <a:ext cx="5287122" cy="840314"/>
          </a:xfrm>
          <a:prstGeom prst="rect">
            <a:avLst/>
          </a:prstGeom>
        </p:spPr>
        <p:txBody>
          <a:bodyPr anchor="b">
            <a:noAutofit/>
          </a:bodyPr>
          <a:lstStyle>
            <a:lvl1pPr marL="0" indent="0">
              <a:buNone/>
              <a:defRPr sz="3264" b="1">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264687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 Microsoft 2014</a:t>
            </a:r>
          </a:p>
        </p:txBody>
      </p:sp>
      <p:sp>
        <p:nvSpPr>
          <p:cNvPr id="9" name="Slide Number Placeholder 8"/>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D75E92BD-1670-425B-83DE-6D52607E5D57}" type="slidenum">
              <a:rPr kumimoji="0" lang="en-GB"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248922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3212829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5482856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7382624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6788718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744351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9818669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472207612"/>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2132492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0676615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2463054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93459641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351910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49789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2347775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4959359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989868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81101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88230151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74703009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3664726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02474618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77985148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294103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272688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910166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438929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750521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0996110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0630712"/>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1828501"/>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2099137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631613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532464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857097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172354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759287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776556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757497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9295229"/>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6153941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208361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36795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693625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95128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17926"/>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20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9369913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61039446"/>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490742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dirty="0"/>
              <a:t>4/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a:p>
        </p:txBody>
      </p:sp>
    </p:spTree>
    <p:extLst>
      <p:ext uri="{BB962C8B-B14F-4D97-AF65-F5344CB8AC3E}">
        <p14:creationId xmlns:p14="http://schemas.microsoft.com/office/powerpoint/2010/main" val="24970946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600944938"/>
      </p:ext>
    </p:extLst>
  </p:cSld>
  <p:clrMapOvr>
    <a:masterClrMapping/>
  </p:clrMapOvr>
  <p:transition>
    <p:fade/>
  </p:transition>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59988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13887359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4258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3968250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1.png"/><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tags" Target="../tags/tag1.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image" Target="../media/image7.emf"/><Relationship Id="rId5" Type="http://schemas.openxmlformats.org/officeDocument/2006/relationships/slideLayout" Target="../slideLayouts/slideLayout5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tags" Target="../tags/tag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51" Type="http://schemas.openxmlformats.org/officeDocument/2006/relationships/tags" Target="../tags/tag2.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heme" Target="../theme/theme4.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tags" Target="../tags/tag5.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tags" Target="../tags/tag4.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image" Target="../media/image7.emf"/><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theme" Target="../theme/theme5.xml"/><Relationship Id="rId8" Type="http://schemas.openxmlformats.org/officeDocument/2006/relationships/slideLayout" Target="../slideLayouts/slideLayout130.xml"/><Relationship Id="rId51" Type="http://schemas.openxmlformats.org/officeDocument/2006/relationships/tags" Target="../tags/tag6.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9" Type="http://schemas.openxmlformats.org/officeDocument/2006/relationships/slideLayout" Target="../slideLayouts/slideLayout208.xml"/><Relationship Id="rId21" Type="http://schemas.openxmlformats.org/officeDocument/2006/relationships/slideLayout" Target="../slideLayouts/slideLayout190.xml"/><Relationship Id="rId34" Type="http://schemas.openxmlformats.org/officeDocument/2006/relationships/slideLayout" Target="../slideLayouts/slideLayout203.xml"/><Relationship Id="rId42" Type="http://schemas.openxmlformats.org/officeDocument/2006/relationships/slideLayout" Target="../slideLayouts/slideLayout211.xml"/><Relationship Id="rId47" Type="http://schemas.openxmlformats.org/officeDocument/2006/relationships/tags" Target="../tags/tag8.xml"/><Relationship Id="rId7" Type="http://schemas.openxmlformats.org/officeDocument/2006/relationships/slideLayout" Target="../slideLayouts/slideLayout17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9" Type="http://schemas.openxmlformats.org/officeDocument/2006/relationships/slideLayout" Target="../slideLayouts/slideLayout198.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37" Type="http://schemas.openxmlformats.org/officeDocument/2006/relationships/slideLayout" Target="../slideLayouts/slideLayout206.xml"/><Relationship Id="rId40" Type="http://schemas.openxmlformats.org/officeDocument/2006/relationships/slideLayout" Target="../slideLayouts/slideLayout209.xml"/><Relationship Id="rId45" Type="http://schemas.openxmlformats.org/officeDocument/2006/relationships/theme" Target="../theme/theme6.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slideLayout" Target="../slideLayouts/slideLayout205.xml"/><Relationship Id="rId49" Type="http://schemas.openxmlformats.org/officeDocument/2006/relationships/image" Target="../media/image7.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4" Type="http://schemas.openxmlformats.org/officeDocument/2006/relationships/slideLayout" Target="../slideLayouts/slideLayout213.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 Id="rId43" Type="http://schemas.openxmlformats.org/officeDocument/2006/relationships/slideLayout" Target="../slideLayouts/slideLayout212.xml"/><Relationship Id="rId48" Type="http://schemas.openxmlformats.org/officeDocument/2006/relationships/tags" Target="../tags/tag9.xml"/><Relationship Id="rId8" Type="http://schemas.openxmlformats.org/officeDocument/2006/relationships/slideLayout" Target="../slideLayouts/slideLayout177.xml"/><Relationship Id="rId3" Type="http://schemas.openxmlformats.org/officeDocument/2006/relationships/slideLayout" Target="../slideLayouts/slideLayout172.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38" Type="http://schemas.openxmlformats.org/officeDocument/2006/relationships/slideLayout" Target="../slideLayouts/slideLayout207.xml"/><Relationship Id="rId46" Type="http://schemas.openxmlformats.org/officeDocument/2006/relationships/tags" Target="../tags/tag7.xml"/><Relationship Id="rId20" Type="http://schemas.openxmlformats.org/officeDocument/2006/relationships/slideLayout" Target="../slideLayouts/slideLayout189.xml"/><Relationship Id="rId41" Type="http://schemas.openxmlformats.org/officeDocument/2006/relationships/slideLayout" Target="../slideLayouts/slideLayout210.xml"/><Relationship Id="rId1" Type="http://schemas.openxmlformats.org/officeDocument/2006/relationships/slideLayout" Target="../slideLayouts/slideLayout170.xml"/><Relationship Id="rId6"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9" r:id="rId24"/>
    <p:sldLayoutId id="2147484319" r:id="rId25"/>
    <p:sldLayoutId id="2147484463" r:id="rId26"/>
    <p:sldLayoutId id="2147484464" r:id="rId27"/>
    <p:sldLayoutId id="2147484465"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8651976"/>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 id="2147484295" r:id="rId25"/>
    <p:sldLayoutId id="2147484296" r:id="rId26"/>
    <p:sldLayoutId id="2147484297" r:id="rId27"/>
    <p:sldLayoutId id="2147484298" r:id="rId28"/>
    <p:sldLayoutId id="2147484299" r:id="rId29"/>
    <p:sldLayoutId id="2147484300" r:id="rId30"/>
    <p:sldLayoutId id="2147484301" r:id="rId31"/>
    <p:sldLayoutId id="2147484302" r:id="rId32"/>
    <p:sldLayoutId id="2147484303" r:id="rId33"/>
    <p:sldLayoutId id="2147484304" r:id="rId34"/>
    <p:sldLayoutId id="2147484305" r:id="rId35"/>
    <p:sldLayoutId id="2147484306" r:id="rId36"/>
    <p:sldLayoutId id="2147484307" r:id="rId37"/>
    <p:sldLayoutId id="2147484308" r:id="rId38"/>
    <p:sldLayoutId id="2147484309" r:id="rId39"/>
    <p:sldLayoutId id="2147484310" r:id="rId40"/>
    <p:sldLayoutId id="2147484311" r:id="rId41"/>
    <p:sldLayoutId id="2147484312" r:id="rId42"/>
    <p:sldLayoutId id="2147484313" r:id="rId43"/>
    <p:sldLayoutId id="2147484314" r:id="rId44"/>
    <p:sldLayoutId id="2147484315" r:id="rId45"/>
    <p:sldLayoutId id="2147484316" r:id="rId46"/>
    <p:sldLayoutId id="2147484317" r:id="rId47"/>
    <p:sldLayoutId id="2147484318" r:id="rId48"/>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224991"/>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2743908"/>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 id="2147484406" r:id="rId38"/>
    <p:sldLayoutId id="2147484407" r:id="rId39"/>
    <p:sldLayoutId id="2147484408" r:id="rId40"/>
    <p:sldLayoutId id="2147484409" r:id="rId41"/>
    <p:sldLayoutId id="2147484410" r:id="rId42"/>
    <p:sldLayoutId id="2147484411" r:id="rId43"/>
    <p:sldLayoutId id="2147484412" r:id="rId44"/>
    <p:sldLayoutId id="2147484413" r:id="rId45"/>
    <p:sldLayoutId id="2147484414" r:id="rId46"/>
    <p:sldLayoutId id="2147484416" r:id="rId47"/>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55885199"/>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 id="2147484440" r:id="rId23"/>
    <p:sldLayoutId id="2147484441" r:id="rId24"/>
    <p:sldLayoutId id="2147484442" r:id="rId25"/>
    <p:sldLayoutId id="2147484443" r:id="rId26"/>
    <p:sldLayoutId id="2147484444" r:id="rId27"/>
    <p:sldLayoutId id="2147484445" r:id="rId28"/>
    <p:sldLayoutId id="2147484446" r:id="rId29"/>
    <p:sldLayoutId id="2147484447" r:id="rId30"/>
    <p:sldLayoutId id="2147484448" r:id="rId31"/>
    <p:sldLayoutId id="2147484449" r:id="rId32"/>
    <p:sldLayoutId id="2147484450" r:id="rId33"/>
    <p:sldLayoutId id="2147484451" r:id="rId34"/>
    <p:sldLayoutId id="2147484452" r:id="rId35"/>
    <p:sldLayoutId id="2147484453" r:id="rId36"/>
    <p:sldLayoutId id="2147484454" r:id="rId37"/>
    <p:sldLayoutId id="2147484455" r:id="rId38"/>
    <p:sldLayoutId id="2147484456" r:id="rId39"/>
    <p:sldLayoutId id="2147484457" r:id="rId40"/>
    <p:sldLayoutId id="2147484458" r:id="rId41"/>
    <p:sldLayoutId id="2147484459" r:id="rId42"/>
    <p:sldLayoutId id="2147484460" r:id="rId43"/>
    <p:sldLayoutId id="2147484461" r:id="rId44"/>
  </p:sldLayoutIdLst>
  <p:hf sldNum="0" hdr="0" ftr="0" dt="0"/>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2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1.xml"/><Relationship Id="rId7" Type="http://schemas.openxmlformats.org/officeDocument/2006/relationships/notesSlide" Target="../notesSlides/notesSlide14.xml"/><Relationship Id="rId2" Type="http://schemas.openxmlformats.org/officeDocument/2006/relationships/customXml" Target="../../customXml/item7.xml"/><Relationship Id="rId1" Type="http://schemas.openxmlformats.org/officeDocument/2006/relationships/tags" Target="../tags/tag11.xml"/><Relationship Id="rId6" Type="http://schemas.openxmlformats.org/officeDocument/2006/relationships/slideLayout" Target="../slideLayouts/slideLayout131.xml"/><Relationship Id="rId5" Type="http://schemas.openxmlformats.org/officeDocument/2006/relationships/customXml" Target="../../customXml/item5.xml"/><Relationship Id="rId4" Type="http://schemas.openxmlformats.org/officeDocument/2006/relationships/customXml" Target="../../customXml/item19.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78.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13.xml"/><Relationship Id="rId7" Type="http://schemas.openxmlformats.org/officeDocument/2006/relationships/notesSlide" Target="../notesSlides/notesSlide19.xml"/><Relationship Id="rId2" Type="http://schemas.openxmlformats.org/officeDocument/2006/relationships/customXml" Target="../../customXml/item10.xml"/><Relationship Id="rId1" Type="http://schemas.openxmlformats.org/officeDocument/2006/relationships/tags" Target="../tags/tag12.xml"/><Relationship Id="rId6" Type="http://schemas.openxmlformats.org/officeDocument/2006/relationships/slideLayout" Target="../slideLayouts/slideLayout131.xml"/><Relationship Id="rId5" Type="http://schemas.openxmlformats.org/officeDocument/2006/relationships/customXml" Target="../../customXml/item20.xml"/><Relationship Id="rId4" Type="http://schemas.openxmlformats.org/officeDocument/2006/relationships/customXml" Target="../../customXml/item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18.xml"/><Relationship Id="rId3" Type="http://schemas.openxmlformats.org/officeDocument/2006/relationships/diagramData" Target="../diagrams/data17.xml"/><Relationship Id="rId7" Type="http://schemas.microsoft.com/office/2007/relationships/diagramDrawing" Target="../diagrams/drawing17.xml"/><Relationship Id="rId12" Type="http://schemas.microsoft.com/office/2007/relationships/diagramDrawing" Target="../diagrams/drawing18.xml"/><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diagramColors" Target="../diagrams/colors17.xml"/><Relationship Id="rId11" Type="http://schemas.openxmlformats.org/officeDocument/2006/relationships/diagramColors" Target="../diagrams/colors18.xml"/><Relationship Id="rId5" Type="http://schemas.openxmlformats.org/officeDocument/2006/relationships/diagramQuickStyle" Target="../diagrams/quickStyle17.xml"/><Relationship Id="rId10" Type="http://schemas.openxmlformats.org/officeDocument/2006/relationships/diagramQuickStyle" Target="../diagrams/quickStyle18.xml"/><Relationship Id="rId4" Type="http://schemas.openxmlformats.org/officeDocument/2006/relationships/diagramLayout" Target="../diagrams/layout17.xml"/><Relationship Id="rId9" Type="http://schemas.openxmlformats.org/officeDocument/2006/relationships/diagramLayout" Target="../diagrams/layout1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2.xml"/><Relationship Id="rId1" Type="http://schemas.openxmlformats.org/officeDocument/2006/relationships/tags" Target="../tags/tag13.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8.xml"/><Relationship Id="rId7" Type="http://schemas.openxmlformats.org/officeDocument/2006/relationships/notesSlide" Target="../notesSlides/notesSlide4.xml"/><Relationship Id="rId2" Type="http://schemas.openxmlformats.org/officeDocument/2006/relationships/customXml" Target="../../customXml/item3.xml"/><Relationship Id="rId1" Type="http://schemas.openxmlformats.org/officeDocument/2006/relationships/tags" Target="../tags/tag10.xml"/><Relationship Id="rId6" Type="http://schemas.openxmlformats.org/officeDocument/2006/relationships/slideLayout" Target="../slideLayouts/slideLayout131.xml"/><Relationship Id="rId5" Type="http://schemas.openxmlformats.org/officeDocument/2006/relationships/customXml" Target="../../customXml/item14.xml"/><Relationship Id="rId4" Type="http://schemas.openxmlformats.org/officeDocument/2006/relationships/customXml" Target="../../customXml/item1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a:t>Statistics	</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9</a:t>
            </a:r>
          </a:p>
        </p:txBody>
      </p:sp>
      <p:sp>
        <p:nvSpPr>
          <p:cNvPr id="8" name="Picture Placeholder 7">
            <a:extLst>
              <a:ext uri="{FF2B5EF4-FFF2-40B4-BE49-F238E27FC236}">
                <a16:creationId xmlns:a16="http://schemas.microsoft.com/office/drawing/2014/main" id="{EDC67D45-694A-4356-BDA3-30BA960758EC}"/>
              </a:ext>
            </a:extLst>
          </p:cNvPr>
          <p:cNvSpPr>
            <a:spLocks noGrp="1"/>
          </p:cNvSpPr>
          <p:nvPr>
            <p:ph type="pic" sz="quarter" idx="17"/>
          </p:nvPr>
        </p:nvSpPr>
        <p:spPr/>
      </p:sp>
      <p:pic>
        <p:nvPicPr>
          <p:cNvPr id="9" name="Picture Placeholder 1">
            <a:extLst>
              <a:ext uri="{FF2B5EF4-FFF2-40B4-BE49-F238E27FC236}">
                <a16:creationId xmlns:a16="http://schemas.microsoft.com/office/drawing/2014/main" id="{D3DB6F98-EBE9-485D-9539-880565BAC9EC}"/>
              </a:ext>
            </a:extLst>
          </p:cNvPr>
          <p:cNvPicPr>
            <a:picLocks noChangeAspect="1"/>
          </p:cNvPicPr>
          <p:nvPr/>
        </p:nvPicPr>
        <p:blipFill rotWithShape="1">
          <a:blip r:embed="rId3"/>
          <a:srcRect t="11" b="11"/>
          <a:stretch/>
        </p:blipFill>
        <p:spPr>
          <a:xfrm>
            <a:off x="8092552" y="2651542"/>
            <a:ext cx="1691679" cy="1691439"/>
          </a:xfrm>
          <a:prstGeom prst="rect">
            <a:avLst/>
          </a:prstGeom>
          <a:solidFill>
            <a:srgbClr val="243A5E"/>
          </a:solidFill>
        </p:spPr>
      </p:pic>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6C481F-16AD-4D6C-83D3-DC1D233B3291}"/>
              </a:ext>
            </a:extLst>
          </p:cNvPr>
          <p:cNvSpPr>
            <a:spLocks noGrp="1"/>
          </p:cNvSpPr>
          <p:nvPr>
            <p:ph type="title"/>
          </p:nvPr>
        </p:nvSpPr>
        <p:spPr/>
        <p:txBody>
          <a:bodyPr/>
          <a:lstStyle/>
          <a:p>
            <a:r>
              <a:rPr lang="en-GB" sz="3264" dirty="0"/>
              <a:t>Statistics usage in SQL Pool databases – Summary</a:t>
            </a:r>
            <a:endParaRPr lang="en-US" dirty="0"/>
          </a:p>
        </p:txBody>
      </p:sp>
      <p:graphicFrame>
        <p:nvGraphicFramePr>
          <p:cNvPr id="8" name="Content Placeholder 7">
            <a:extLst>
              <a:ext uri="{FF2B5EF4-FFF2-40B4-BE49-F238E27FC236}">
                <a16:creationId xmlns:a16="http://schemas.microsoft.com/office/drawing/2014/main" id="{EDDE93BD-A13B-49FF-A655-9D5E04935EDD}"/>
              </a:ext>
            </a:extLst>
          </p:cNvPr>
          <p:cNvGraphicFramePr>
            <a:graphicFrameLocks noGrp="1"/>
          </p:cNvGraphicFramePr>
          <p:nvPr>
            <p:ph sz="quarter" idx="13"/>
          </p:nvPr>
        </p:nvGraphicFramePr>
        <p:xfrm>
          <a:off x="548454" y="1490173"/>
          <a:ext cx="11097333" cy="4014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56031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654E446B-C5C3-452A-A2CD-6AD33F2D83E4}"/>
              </a:ext>
            </a:extLst>
          </p:cNvPr>
          <p:cNvGraphicFramePr/>
          <p:nvPr>
            <p:extLst>
              <p:ext uri="{D42A27DB-BD31-4B8C-83A1-F6EECF244321}">
                <p14:modId xmlns:p14="http://schemas.microsoft.com/office/powerpoint/2010/main" val="2506897792"/>
              </p:ext>
            </p:extLst>
          </p:nvPr>
        </p:nvGraphicFramePr>
        <p:xfrm>
          <a:off x="913140" y="1015781"/>
          <a:ext cx="10610193" cy="54864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273455" y="208563"/>
            <a:ext cx="11889564" cy="917575"/>
          </a:xfrm>
        </p:spPr>
        <p:txBody>
          <a:bodyPr/>
          <a:lstStyle/>
          <a:p>
            <a:r>
              <a:rPr lang="en-GB" sz="3200" dirty="0">
                <a:solidFill>
                  <a:srgbClr val="525252"/>
                </a:solidFill>
              </a:rPr>
              <a:t>Types of Statistics Objects – Distribution Level</a:t>
            </a:r>
          </a:p>
        </p:txBody>
      </p:sp>
    </p:spTree>
    <p:extLst>
      <p:ext uri="{BB962C8B-B14F-4D97-AF65-F5344CB8AC3E}">
        <p14:creationId xmlns:p14="http://schemas.microsoft.com/office/powerpoint/2010/main" val="209508081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3" name="Title 1642"/>
          <p:cNvSpPr>
            <a:spLocks noGrp="1"/>
          </p:cNvSpPr>
          <p:nvPr>
            <p:ph type="title"/>
          </p:nvPr>
        </p:nvSpPr>
        <p:spPr>
          <a:xfrm>
            <a:off x="275481" y="295274"/>
            <a:ext cx="11887878" cy="917575"/>
          </a:xfrm>
        </p:spPr>
        <p:txBody>
          <a:bodyPr/>
          <a:lstStyle/>
          <a:p>
            <a:r>
              <a:rPr lang="en-GB" sz="3200">
                <a:solidFill>
                  <a:srgbClr val="525252"/>
                </a:solidFill>
              </a:rPr>
              <a:t>Stats In Action</a:t>
            </a:r>
          </a:p>
        </p:txBody>
      </p:sp>
      <p:grpSp>
        <p:nvGrpSpPr>
          <p:cNvPr id="2" name="Group 1">
            <a:extLst>
              <a:ext uri="{FF2B5EF4-FFF2-40B4-BE49-F238E27FC236}">
                <a16:creationId xmlns:a16="http://schemas.microsoft.com/office/drawing/2014/main" id="{F067C7AF-7495-4AB8-AA9D-05EA7EA97A46}"/>
              </a:ext>
            </a:extLst>
          </p:cNvPr>
          <p:cNvGrpSpPr/>
          <p:nvPr/>
        </p:nvGrpSpPr>
        <p:grpSpPr>
          <a:xfrm>
            <a:off x="6219421" y="1212849"/>
            <a:ext cx="5977358" cy="5373966"/>
            <a:chOff x="7036701" y="797653"/>
            <a:chExt cx="5860687" cy="5269072"/>
          </a:xfrm>
        </p:grpSpPr>
        <p:sp>
          <p:nvSpPr>
            <p:cNvPr id="251" name="Rectangle 250">
              <a:extLst>
                <a:ext uri="{FF2B5EF4-FFF2-40B4-BE49-F238E27FC236}">
                  <a16:creationId xmlns:a16="http://schemas.microsoft.com/office/drawing/2014/main" id="{0DEDF4AE-74BF-433E-915C-71AD01E904AA}"/>
                </a:ext>
              </a:extLst>
            </p:cNvPr>
            <p:cNvSpPr>
              <a:spLocks noChangeArrowheads="1"/>
            </p:cNvSpPr>
            <p:nvPr/>
          </p:nvSpPr>
          <p:spPr bwMode="auto">
            <a:xfrm>
              <a:off x="9687431" y="1315900"/>
              <a:ext cx="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sz="2400">
                <a:solidFill>
                  <a:srgbClr val="505050"/>
                </a:solidFill>
                <a:latin typeface="Segoe UI"/>
              </a:endParaRPr>
            </a:p>
          </p:txBody>
        </p:sp>
        <p:grpSp>
          <p:nvGrpSpPr>
            <p:cNvPr id="252" name="Group 251">
              <a:extLst>
                <a:ext uri="{FF2B5EF4-FFF2-40B4-BE49-F238E27FC236}">
                  <a16:creationId xmlns:a16="http://schemas.microsoft.com/office/drawing/2014/main" id="{D494C1BB-61ED-480D-B8E5-CD91EEC3AFE3}"/>
                </a:ext>
              </a:extLst>
            </p:cNvPr>
            <p:cNvGrpSpPr/>
            <p:nvPr/>
          </p:nvGrpSpPr>
          <p:grpSpPr>
            <a:xfrm>
              <a:off x="9536815" y="797653"/>
              <a:ext cx="998746" cy="1344637"/>
              <a:chOff x="9882329" y="3122532"/>
              <a:chExt cx="1018773" cy="1371600"/>
            </a:xfrm>
          </p:grpSpPr>
          <p:grpSp>
            <p:nvGrpSpPr>
              <p:cNvPr id="311" name="Group 310">
                <a:extLst>
                  <a:ext uri="{FF2B5EF4-FFF2-40B4-BE49-F238E27FC236}">
                    <a16:creationId xmlns:a16="http://schemas.microsoft.com/office/drawing/2014/main" id="{FDBC5475-529F-4A60-893E-55783AEA0D57}"/>
                  </a:ext>
                </a:extLst>
              </p:cNvPr>
              <p:cNvGrpSpPr>
                <a:grpSpLocks noChangeAspect="1"/>
              </p:cNvGrpSpPr>
              <p:nvPr/>
            </p:nvGrpSpPr>
            <p:grpSpPr>
              <a:xfrm>
                <a:off x="9882329" y="3122532"/>
                <a:ext cx="1018773" cy="1371600"/>
                <a:chOff x="6592193" y="1888324"/>
                <a:chExt cx="2181834" cy="2937461"/>
              </a:xfrm>
            </p:grpSpPr>
            <p:sp>
              <p:nvSpPr>
                <p:cNvPr id="313" name="Can 9">
                  <a:extLst>
                    <a:ext uri="{FF2B5EF4-FFF2-40B4-BE49-F238E27FC236}">
                      <a16:creationId xmlns:a16="http://schemas.microsoft.com/office/drawing/2014/main" id="{2E42911C-8AA6-4E0E-9622-F33DB38D629A}"/>
                    </a:ext>
                  </a:extLst>
                </p:cNvPr>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314" name="Donut 10">
                  <a:extLst>
                    <a:ext uri="{FF2B5EF4-FFF2-40B4-BE49-F238E27FC236}">
                      <a16:creationId xmlns:a16="http://schemas.microsoft.com/office/drawing/2014/main" id="{50C05861-9CF5-4426-AEC0-03AEAB282D84}"/>
                    </a:ext>
                  </a:extLst>
                </p:cNvPr>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nvGrpSpPr>
                <p:cNvPr id="315" name="Group 314">
                  <a:extLst>
                    <a:ext uri="{FF2B5EF4-FFF2-40B4-BE49-F238E27FC236}">
                      <a16:creationId xmlns:a16="http://schemas.microsoft.com/office/drawing/2014/main" id="{A7AD779E-C1E5-4B36-BDB5-6BD17C9CCFA0}"/>
                    </a:ext>
                  </a:extLst>
                </p:cNvPr>
                <p:cNvGrpSpPr/>
                <p:nvPr/>
              </p:nvGrpSpPr>
              <p:grpSpPr>
                <a:xfrm>
                  <a:off x="6654555" y="1948052"/>
                  <a:ext cx="2062791" cy="999923"/>
                  <a:chOff x="3418451" y="1327507"/>
                  <a:chExt cx="2706124" cy="1321666"/>
                </a:xfrm>
              </p:grpSpPr>
              <p:sp>
                <p:nvSpPr>
                  <p:cNvPr id="316" name="Donut 12">
                    <a:extLst>
                      <a:ext uri="{FF2B5EF4-FFF2-40B4-BE49-F238E27FC236}">
                        <a16:creationId xmlns:a16="http://schemas.microsoft.com/office/drawing/2014/main" id="{29B20685-DCF4-46A7-B04A-4CA3374FFFC9}"/>
                      </a:ext>
                    </a:extLst>
                  </p:cNvPr>
                  <p:cNvSpPr/>
                  <p:nvPr/>
                </p:nvSpPr>
                <p:spPr>
                  <a:xfrm>
                    <a:off x="3418451" y="1327507"/>
                    <a:ext cx="2706124" cy="1321666"/>
                  </a:xfrm>
                  <a:prstGeom prst="donut">
                    <a:avLst>
                      <a:gd name="adj" fmla="val 50000"/>
                    </a:avLst>
                  </a:prstGeom>
                  <a:solidFill>
                    <a:srgbClr val="00AB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317" name="Freeform 13">
                    <a:extLst>
                      <a:ext uri="{FF2B5EF4-FFF2-40B4-BE49-F238E27FC236}">
                        <a16:creationId xmlns:a16="http://schemas.microsoft.com/office/drawing/2014/main" id="{F31D5209-EFC4-47F7-A1F0-7E33F761659E}"/>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grpSp>
          <p:sp>
            <p:nvSpPr>
              <p:cNvPr id="312" name="TextBox 8">
                <a:extLst>
                  <a:ext uri="{FF2B5EF4-FFF2-40B4-BE49-F238E27FC236}">
                    <a16:creationId xmlns:a16="http://schemas.microsoft.com/office/drawing/2014/main" id="{16C491E7-6F94-49AF-B3FB-A103EE255918}"/>
                  </a:ext>
                </a:extLst>
              </p:cNvPr>
              <p:cNvSpPr txBox="1"/>
              <p:nvPr/>
            </p:nvSpPr>
            <p:spPr>
              <a:xfrm>
                <a:off x="9925162" y="3659933"/>
                <a:ext cx="961387" cy="763458"/>
              </a:xfrm>
              <a:prstGeom prst="rect">
                <a:avLst/>
              </a:prstGeom>
              <a:noFill/>
            </p:spPr>
            <p:txBody>
              <a:bodyPr wrap="none" lIns="179260" tIns="143408" rIns="179260" bIns="14340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Control</a:t>
                </a:r>
              </a:p>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node</a:t>
                </a:r>
              </a:p>
            </p:txBody>
          </p:sp>
        </p:grpSp>
        <p:sp>
          <p:nvSpPr>
            <p:cNvPr id="253" name="Freeform 14">
              <a:extLst>
                <a:ext uri="{FF2B5EF4-FFF2-40B4-BE49-F238E27FC236}">
                  <a16:creationId xmlns:a16="http://schemas.microsoft.com/office/drawing/2014/main" id="{6710D5AE-CEB8-414C-AB52-D01F6FD4785C}"/>
                </a:ext>
              </a:extLst>
            </p:cNvPr>
            <p:cNvSpPr/>
            <p:nvPr/>
          </p:nvSpPr>
          <p:spPr bwMode="auto">
            <a:xfrm>
              <a:off x="9104220" y="846201"/>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3" tIns="143387" rIns="179233" bIns="14338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52" fontAlgn="base">
                <a:lnSpc>
                  <a:spcPct val="90000"/>
                </a:lnSpc>
                <a:spcBef>
                  <a:spcPct val="0"/>
                </a:spcBef>
                <a:spcAft>
                  <a:spcPct val="0"/>
                </a:spcAft>
              </a:pPr>
              <a:endParaRPr lang="en-IN" sz="1960" b="1">
                <a:solidFill>
                  <a:srgbClr val="505050"/>
                </a:solidFill>
                <a:latin typeface="Segoe UI Light"/>
                <a:ea typeface="Segoe UI" pitchFamily="34" charset="0"/>
                <a:cs typeface="Segoe UI" pitchFamily="34" charset="0"/>
              </a:endParaRPr>
            </a:p>
          </p:txBody>
        </p:sp>
        <p:grpSp>
          <p:nvGrpSpPr>
            <p:cNvPr id="254" name="Group 253">
              <a:extLst>
                <a:ext uri="{FF2B5EF4-FFF2-40B4-BE49-F238E27FC236}">
                  <a16:creationId xmlns:a16="http://schemas.microsoft.com/office/drawing/2014/main" id="{FB807A37-678E-4537-B318-CDE70F422CD4}"/>
                </a:ext>
              </a:extLst>
            </p:cNvPr>
            <p:cNvGrpSpPr/>
            <p:nvPr/>
          </p:nvGrpSpPr>
          <p:grpSpPr>
            <a:xfrm>
              <a:off x="7416700" y="2769228"/>
              <a:ext cx="1086117" cy="1344637"/>
              <a:chOff x="9851910" y="3122532"/>
              <a:chExt cx="1107897" cy="1371600"/>
            </a:xfrm>
          </p:grpSpPr>
          <p:grpSp>
            <p:nvGrpSpPr>
              <p:cNvPr id="304" name="Group 303">
                <a:extLst>
                  <a:ext uri="{FF2B5EF4-FFF2-40B4-BE49-F238E27FC236}">
                    <a16:creationId xmlns:a16="http://schemas.microsoft.com/office/drawing/2014/main" id="{03DEC5E3-9630-4D75-BC3F-BD7E308AF3FE}"/>
                  </a:ext>
                </a:extLst>
              </p:cNvPr>
              <p:cNvGrpSpPr>
                <a:grpSpLocks noChangeAspect="1"/>
              </p:cNvGrpSpPr>
              <p:nvPr/>
            </p:nvGrpSpPr>
            <p:grpSpPr>
              <a:xfrm>
                <a:off x="9882329" y="3122532"/>
                <a:ext cx="1018773" cy="1371600"/>
                <a:chOff x="6592193" y="1888324"/>
                <a:chExt cx="2181834" cy="2937461"/>
              </a:xfrm>
            </p:grpSpPr>
            <p:sp>
              <p:nvSpPr>
                <p:cNvPr id="306" name="Can 19">
                  <a:extLst>
                    <a:ext uri="{FF2B5EF4-FFF2-40B4-BE49-F238E27FC236}">
                      <a16:creationId xmlns:a16="http://schemas.microsoft.com/office/drawing/2014/main" id="{55BC2658-B23A-4CA6-BA6A-C59FD4846FB8}"/>
                    </a:ext>
                  </a:extLst>
                </p:cNvPr>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307" name="Donut 20">
                  <a:extLst>
                    <a:ext uri="{FF2B5EF4-FFF2-40B4-BE49-F238E27FC236}">
                      <a16:creationId xmlns:a16="http://schemas.microsoft.com/office/drawing/2014/main" id="{4C08BF49-BEF5-4C27-9D4A-BDEF7F0B6BE3}"/>
                    </a:ext>
                  </a:extLst>
                </p:cNvPr>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nvGrpSpPr>
                <p:cNvPr id="308" name="Group 307">
                  <a:extLst>
                    <a:ext uri="{FF2B5EF4-FFF2-40B4-BE49-F238E27FC236}">
                      <a16:creationId xmlns:a16="http://schemas.microsoft.com/office/drawing/2014/main" id="{11D76867-4DD7-4BD9-97F1-BFBEADCA5DBC}"/>
                    </a:ext>
                  </a:extLst>
                </p:cNvPr>
                <p:cNvGrpSpPr/>
                <p:nvPr/>
              </p:nvGrpSpPr>
              <p:grpSpPr>
                <a:xfrm>
                  <a:off x="6654555" y="1948052"/>
                  <a:ext cx="2062791" cy="999923"/>
                  <a:chOff x="3418451" y="1327507"/>
                  <a:chExt cx="2706124" cy="1321666"/>
                </a:xfrm>
              </p:grpSpPr>
              <p:sp>
                <p:nvSpPr>
                  <p:cNvPr id="309" name="Donut 22">
                    <a:extLst>
                      <a:ext uri="{FF2B5EF4-FFF2-40B4-BE49-F238E27FC236}">
                        <a16:creationId xmlns:a16="http://schemas.microsoft.com/office/drawing/2014/main" id="{804973C3-E852-42AA-B61F-1641119CC8D8}"/>
                      </a:ext>
                    </a:extLst>
                  </p:cNvPr>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310" name="Freeform 23">
                    <a:extLst>
                      <a:ext uri="{FF2B5EF4-FFF2-40B4-BE49-F238E27FC236}">
                        <a16:creationId xmlns:a16="http://schemas.microsoft.com/office/drawing/2014/main" id="{ECA1321C-9D41-4EF9-82C4-39A2F82104A5}"/>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grpSp>
          <p:sp>
            <p:nvSpPr>
              <p:cNvPr id="305" name="TextBox 18">
                <a:extLst>
                  <a:ext uri="{FF2B5EF4-FFF2-40B4-BE49-F238E27FC236}">
                    <a16:creationId xmlns:a16="http://schemas.microsoft.com/office/drawing/2014/main" id="{10A44FC1-F4B4-41F5-95B8-FD5DCEB7987E}"/>
                  </a:ext>
                </a:extLst>
              </p:cNvPr>
              <p:cNvSpPr txBox="1"/>
              <p:nvPr/>
            </p:nvSpPr>
            <p:spPr>
              <a:xfrm>
                <a:off x="9851910" y="3659933"/>
                <a:ext cx="1107897" cy="763458"/>
              </a:xfrm>
              <a:prstGeom prst="rect">
                <a:avLst/>
              </a:prstGeom>
              <a:noFill/>
            </p:spPr>
            <p:txBody>
              <a:bodyPr wrap="none" lIns="179260" tIns="143408" rIns="179260" bIns="14340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Compute</a:t>
                </a:r>
              </a:p>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node</a:t>
                </a:r>
              </a:p>
            </p:txBody>
          </p:sp>
        </p:grpSp>
        <p:grpSp>
          <p:nvGrpSpPr>
            <p:cNvPr id="255" name="Group 254">
              <a:extLst>
                <a:ext uri="{FF2B5EF4-FFF2-40B4-BE49-F238E27FC236}">
                  <a16:creationId xmlns:a16="http://schemas.microsoft.com/office/drawing/2014/main" id="{2A1E18DD-5A6F-4DA8-A1F5-988F5476675C}"/>
                </a:ext>
              </a:extLst>
            </p:cNvPr>
            <p:cNvGrpSpPr/>
            <p:nvPr/>
          </p:nvGrpSpPr>
          <p:grpSpPr>
            <a:xfrm>
              <a:off x="8908616" y="2769228"/>
              <a:ext cx="1086117" cy="1344637"/>
              <a:chOff x="9851910" y="3122532"/>
              <a:chExt cx="1107897" cy="1371600"/>
            </a:xfrm>
          </p:grpSpPr>
          <p:grpSp>
            <p:nvGrpSpPr>
              <p:cNvPr id="297" name="Group 296">
                <a:extLst>
                  <a:ext uri="{FF2B5EF4-FFF2-40B4-BE49-F238E27FC236}">
                    <a16:creationId xmlns:a16="http://schemas.microsoft.com/office/drawing/2014/main" id="{22941D14-D4D3-4B8D-8B19-67F0ACB91174}"/>
                  </a:ext>
                </a:extLst>
              </p:cNvPr>
              <p:cNvGrpSpPr>
                <a:grpSpLocks noChangeAspect="1"/>
              </p:cNvGrpSpPr>
              <p:nvPr/>
            </p:nvGrpSpPr>
            <p:grpSpPr>
              <a:xfrm>
                <a:off x="9882329" y="3122532"/>
                <a:ext cx="1018773" cy="1371600"/>
                <a:chOff x="6592193" y="1888324"/>
                <a:chExt cx="2181834" cy="2937461"/>
              </a:xfrm>
            </p:grpSpPr>
            <p:sp>
              <p:nvSpPr>
                <p:cNvPr id="299" name="Can 27">
                  <a:extLst>
                    <a:ext uri="{FF2B5EF4-FFF2-40B4-BE49-F238E27FC236}">
                      <a16:creationId xmlns:a16="http://schemas.microsoft.com/office/drawing/2014/main" id="{5AACCA4E-FC6D-4863-9EAD-A4B43A095D5A}"/>
                    </a:ext>
                  </a:extLst>
                </p:cNvPr>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300" name="Donut 28">
                  <a:extLst>
                    <a:ext uri="{FF2B5EF4-FFF2-40B4-BE49-F238E27FC236}">
                      <a16:creationId xmlns:a16="http://schemas.microsoft.com/office/drawing/2014/main" id="{3DA1B626-2722-4E5A-B651-3D71902469D7}"/>
                    </a:ext>
                  </a:extLst>
                </p:cNvPr>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nvGrpSpPr>
                <p:cNvPr id="301" name="Group 300">
                  <a:extLst>
                    <a:ext uri="{FF2B5EF4-FFF2-40B4-BE49-F238E27FC236}">
                      <a16:creationId xmlns:a16="http://schemas.microsoft.com/office/drawing/2014/main" id="{7E876D48-8FC5-43EA-A824-6981B44066CA}"/>
                    </a:ext>
                  </a:extLst>
                </p:cNvPr>
                <p:cNvGrpSpPr/>
                <p:nvPr/>
              </p:nvGrpSpPr>
              <p:grpSpPr>
                <a:xfrm>
                  <a:off x="6654555" y="1948052"/>
                  <a:ext cx="2062791" cy="999923"/>
                  <a:chOff x="3418451" y="1327507"/>
                  <a:chExt cx="2706124" cy="1321666"/>
                </a:xfrm>
              </p:grpSpPr>
              <p:sp>
                <p:nvSpPr>
                  <p:cNvPr id="302" name="Donut 30">
                    <a:extLst>
                      <a:ext uri="{FF2B5EF4-FFF2-40B4-BE49-F238E27FC236}">
                        <a16:creationId xmlns:a16="http://schemas.microsoft.com/office/drawing/2014/main" id="{9089D31F-D601-416B-A708-38DEA6B4D8A5}"/>
                      </a:ext>
                    </a:extLst>
                  </p:cNvPr>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303" name="Freeform 31">
                    <a:extLst>
                      <a:ext uri="{FF2B5EF4-FFF2-40B4-BE49-F238E27FC236}">
                        <a16:creationId xmlns:a16="http://schemas.microsoft.com/office/drawing/2014/main" id="{AB5843CD-47C4-490A-B0AA-A82589E608A1}"/>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grpSp>
          <p:sp>
            <p:nvSpPr>
              <p:cNvPr id="298" name="TextBox 26">
                <a:extLst>
                  <a:ext uri="{FF2B5EF4-FFF2-40B4-BE49-F238E27FC236}">
                    <a16:creationId xmlns:a16="http://schemas.microsoft.com/office/drawing/2014/main" id="{B48A23F9-8239-49C5-AAB9-9F7BBB1EF34D}"/>
                  </a:ext>
                </a:extLst>
              </p:cNvPr>
              <p:cNvSpPr txBox="1"/>
              <p:nvPr/>
            </p:nvSpPr>
            <p:spPr>
              <a:xfrm>
                <a:off x="9851910" y="3659933"/>
                <a:ext cx="1107897" cy="763458"/>
              </a:xfrm>
              <a:prstGeom prst="rect">
                <a:avLst/>
              </a:prstGeom>
              <a:noFill/>
            </p:spPr>
            <p:txBody>
              <a:bodyPr wrap="none" lIns="179260" tIns="143408" rIns="179260" bIns="14340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Compute</a:t>
                </a:r>
              </a:p>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node</a:t>
                </a:r>
              </a:p>
            </p:txBody>
          </p:sp>
        </p:grpSp>
        <p:cxnSp>
          <p:nvCxnSpPr>
            <p:cNvPr id="256" name="Straight Connector 255">
              <a:extLst>
                <a:ext uri="{FF2B5EF4-FFF2-40B4-BE49-F238E27FC236}">
                  <a16:creationId xmlns:a16="http://schemas.microsoft.com/office/drawing/2014/main" id="{BA32890A-34BE-471C-868A-D18094844B62}"/>
                </a:ext>
              </a:extLst>
            </p:cNvPr>
            <p:cNvCxnSpPr>
              <a:stCxn id="306" idx="1"/>
            </p:cNvCxnSpPr>
            <p:nvPr/>
          </p:nvCxnSpPr>
          <p:spPr>
            <a:xfrm flipV="1">
              <a:off x="7945897" y="1919095"/>
              <a:ext cx="1590918" cy="850133"/>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A4E8BAD-4EE9-4519-A0BA-CC4A66D84C6D}"/>
                </a:ext>
              </a:extLst>
            </p:cNvPr>
            <p:cNvCxnSpPr>
              <a:stCxn id="288" idx="0"/>
            </p:cNvCxnSpPr>
            <p:nvPr/>
          </p:nvCxnSpPr>
          <p:spPr>
            <a:xfrm flipH="1" flipV="1">
              <a:off x="10509615" y="1919095"/>
              <a:ext cx="1832153" cy="87747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AADF4F68-37A4-499D-B1CD-EE4A3BF33F12}"/>
                </a:ext>
              </a:extLst>
            </p:cNvPr>
            <p:cNvCxnSpPr>
              <a:stCxn id="300" idx="0"/>
            </p:cNvCxnSpPr>
            <p:nvPr/>
          </p:nvCxnSpPr>
          <p:spPr>
            <a:xfrm flipV="1">
              <a:off x="9437813" y="2142290"/>
              <a:ext cx="366192" cy="626938"/>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F44A9ECD-7F35-4911-8004-E12389D75E6C}"/>
                </a:ext>
              </a:extLst>
            </p:cNvPr>
            <p:cNvCxnSpPr>
              <a:stCxn id="295" idx="0"/>
            </p:cNvCxnSpPr>
            <p:nvPr/>
          </p:nvCxnSpPr>
          <p:spPr>
            <a:xfrm flipH="1" flipV="1">
              <a:off x="10237142" y="2142290"/>
              <a:ext cx="667511" cy="654279"/>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60" name="Group 259">
              <a:extLst>
                <a:ext uri="{FF2B5EF4-FFF2-40B4-BE49-F238E27FC236}">
                  <a16:creationId xmlns:a16="http://schemas.microsoft.com/office/drawing/2014/main" id="{1EA288CF-EF8C-40AC-8BBF-1541B39DF7F7}"/>
                </a:ext>
              </a:extLst>
            </p:cNvPr>
            <p:cNvGrpSpPr/>
            <p:nvPr/>
          </p:nvGrpSpPr>
          <p:grpSpPr>
            <a:xfrm>
              <a:off x="10374156" y="2769228"/>
              <a:ext cx="1086117" cy="1344637"/>
              <a:chOff x="9851910" y="3122532"/>
              <a:chExt cx="1107897" cy="1371600"/>
            </a:xfrm>
          </p:grpSpPr>
          <p:grpSp>
            <p:nvGrpSpPr>
              <p:cNvPr id="290" name="Group 289">
                <a:extLst>
                  <a:ext uri="{FF2B5EF4-FFF2-40B4-BE49-F238E27FC236}">
                    <a16:creationId xmlns:a16="http://schemas.microsoft.com/office/drawing/2014/main" id="{199FC656-EF8D-480E-91D0-91FAF7CFD684}"/>
                  </a:ext>
                </a:extLst>
              </p:cNvPr>
              <p:cNvGrpSpPr>
                <a:grpSpLocks noChangeAspect="1"/>
              </p:cNvGrpSpPr>
              <p:nvPr/>
            </p:nvGrpSpPr>
            <p:grpSpPr>
              <a:xfrm>
                <a:off x="9882329" y="3122532"/>
                <a:ext cx="1018773" cy="1371600"/>
                <a:chOff x="6592193" y="1888324"/>
                <a:chExt cx="2181834" cy="2937461"/>
              </a:xfrm>
            </p:grpSpPr>
            <p:sp>
              <p:nvSpPr>
                <p:cNvPr id="292" name="Can 35">
                  <a:extLst>
                    <a:ext uri="{FF2B5EF4-FFF2-40B4-BE49-F238E27FC236}">
                      <a16:creationId xmlns:a16="http://schemas.microsoft.com/office/drawing/2014/main" id="{20079F21-2553-4510-B8D4-35366C7B9682}"/>
                    </a:ext>
                  </a:extLst>
                </p:cNvPr>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293" name="Donut 36">
                  <a:extLst>
                    <a:ext uri="{FF2B5EF4-FFF2-40B4-BE49-F238E27FC236}">
                      <a16:creationId xmlns:a16="http://schemas.microsoft.com/office/drawing/2014/main" id="{DC0CE10F-064D-4108-8CB4-783886E018C3}"/>
                    </a:ext>
                  </a:extLst>
                </p:cNvPr>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nvGrpSpPr>
                <p:cNvPr id="294" name="Group 293">
                  <a:extLst>
                    <a:ext uri="{FF2B5EF4-FFF2-40B4-BE49-F238E27FC236}">
                      <a16:creationId xmlns:a16="http://schemas.microsoft.com/office/drawing/2014/main" id="{6028ED94-4C36-4646-BBB4-9231CD4FDBE4}"/>
                    </a:ext>
                  </a:extLst>
                </p:cNvPr>
                <p:cNvGrpSpPr/>
                <p:nvPr/>
              </p:nvGrpSpPr>
              <p:grpSpPr>
                <a:xfrm>
                  <a:off x="6654555" y="1948052"/>
                  <a:ext cx="2062791" cy="999923"/>
                  <a:chOff x="3418451" y="1327507"/>
                  <a:chExt cx="2706124" cy="1321666"/>
                </a:xfrm>
              </p:grpSpPr>
              <p:sp>
                <p:nvSpPr>
                  <p:cNvPr id="295" name="Donut 38">
                    <a:extLst>
                      <a:ext uri="{FF2B5EF4-FFF2-40B4-BE49-F238E27FC236}">
                        <a16:creationId xmlns:a16="http://schemas.microsoft.com/office/drawing/2014/main" id="{C19F3B9C-983C-41F9-BDCA-5CA39EECC923}"/>
                      </a:ext>
                    </a:extLst>
                  </p:cNvPr>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296" name="Freeform 39">
                    <a:extLst>
                      <a:ext uri="{FF2B5EF4-FFF2-40B4-BE49-F238E27FC236}">
                        <a16:creationId xmlns:a16="http://schemas.microsoft.com/office/drawing/2014/main" id="{DD8542E7-8347-4512-821D-9565D57454C2}"/>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grpSp>
          <p:sp>
            <p:nvSpPr>
              <p:cNvPr id="291" name="TextBox 34">
                <a:extLst>
                  <a:ext uri="{FF2B5EF4-FFF2-40B4-BE49-F238E27FC236}">
                    <a16:creationId xmlns:a16="http://schemas.microsoft.com/office/drawing/2014/main" id="{EE9A7369-D0E4-48B9-BB32-6F38346D42A2}"/>
                  </a:ext>
                </a:extLst>
              </p:cNvPr>
              <p:cNvSpPr txBox="1"/>
              <p:nvPr/>
            </p:nvSpPr>
            <p:spPr>
              <a:xfrm>
                <a:off x="9851910" y="3659933"/>
                <a:ext cx="1107897" cy="763458"/>
              </a:xfrm>
              <a:prstGeom prst="rect">
                <a:avLst/>
              </a:prstGeom>
              <a:noFill/>
            </p:spPr>
            <p:txBody>
              <a:bodyPr wrap="none" lIns="179260" tIns="143408" rIns="179260" bIns="14340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Compute</a:t>
                </a:r>
              </a:p>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node</a:t>
                </a:r>
              </a:p>
            </p:txBody>
          </p:sp>
        </p:grpSp>
        <p:grpSp>
          <p:nvGrpSpPr>
            <p:cNvPr id="261" name="Group 260">
              <a:extLst>
                <a:ext uri="{FF2B5EF4-FFF2-40B4-BE49-F238E27FC236}">
                  <a16:creationId xmlns:a16="http://schemas.microsoft.com/office/drawing/2014/main" id="{AFC652E8-D060-4C4C-BAF9-9A96B95D0259}"/>
                </a:ext>
              </a:extLst>
            </p:cNvPr>
            <p:cNvGrpSpPr/>
            <p:nvPr/>
          </p:nvGrpSpPr>
          <p:grpSpPr>
            <a:xfrm>
              <a:off x="11811271" y="2769228"/>
              <a:ext cx="1086117" cy="1344637"/>
              <a:chOff x="9851910" y="3122532"/>
              <a:chExt cx="1107897" cy="1371600"/>
            </a:xfrm>
          </p:grpSpPr>
          <p:grpSp>
            <p:nvGrpSpPr>
              <p:cNvPr id="283" name="Group 282">
                <a:extLst>
                  <a:ext uri="{FF2B5EF4-FFF2-40B4-BE49-F238E27FC236}">
                    <a16:creationId xmlns:a16="http://schemas.microsoft.com/office/drawing/2014/main" id="{CE8EF726-FCF9-481C-B245-F12E7D2BDC2A}"/>
                  </a:ext>
                </a:extLst>
              </p:cNvPr>
              <p:cNvGrpSpPr>
                <a:grpSpLocks noChangeAspect="1"/>
              </p:cNvGrpSpPr>
              <p:nvPr/>
            </p:nvGrpSpPr>
            <p:grpSpPr>
              <a:xfrm>
                <a:off x="9882329" y="3122532"/>
                <a:ext cx="1018773" cy="1371600"/>
                <a:chOff x="6592193" y="1888324"/>
                <a:chExt cx="2181834" cy="2937461"/>
              </a:xfrm>
            </p:grpSpPr>
            <p:sp>
              <p:nvSpPr>
                <p:cNvPr id="285" name="Can 43">
                  <a:extLst>
                    <a:ext uri="{FF2B5EF4-FFF2-40B4-BE49-F238E27FC236}">
                      <a16:creationId xmlns:a16="http://schemas.microsoft.com/office/drawing/2014/main" id="{148B5038-56B3-417F-A8E1-65291A6300E2}"/>
                    </a:ext>
                  </a:extLst>
                </p:cNvPr>
                <p:cNvSpPr/>
                <p:nvPr/>
              </p:nvSpPr>
              <p:spPr>
                <a:xfrm>
                  <a:off x="6592193" y="1888325"/>
                  <a:ext cx="2181834" cy="2937460"/>
                </a:xfrm>
                <a:prstGeom prst="can">
                  <a:avLst>
                    <a:gd name="adj" fmla="val 51849"/>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286" name="Donut 44">
                  <a:extLst>
                    <a:ext uri="{FF2B5EF4-FFF2-40B4-BE49-F238E27FC236}">
                      <a16:creationId xmlns:a16="http://schemas.microsoft.com/office/drawing/2014/main" id="{CEDF1C01-39DA-4962-BB4A-E5ADA3ABC199}"/>
                    </a:ext>
                  </a:extLst>
                </p:cNvPr>
                <p:cNvSpPr/>
                <p:nvPr/>
              </p:nvSpPr>
              <p:spPr>
                <a:xfrm>
                  <a:off x="6592193" y="1888324"/>
                  <a:ext cx="2181834" cy="1119376"/>
                </a:xfrm>
                <a:prstGeom prst="donut">
                  <a:avLst>
                    <a:gd name="adj" fmla="val 5387"/>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nvGrpSpPr>
                <p:cNvPr id="287" name="Group 286">
                  <a:extLst>
                    <a:ext uri="{FF2B5EF4-FFF2-40B4-BE49-F238E27FC236}">
                      <a16:creationId xmlns:a16="http://schemas.microsoft.com/office/drawing/2014/main" id="{74E67AD7-F3EF-4D28-8805-F9B53E25F823}"/>
                    </a:ext>
                  </a:extLst>
                </p:cNvPr>
                <p:cNvGrpSpPr/>
                <p:nvPr/>
              </p:nvGrpSpPr>
              <p:grpSpPr>
                <a:xfrm>
                  <a:off x="6654555" y="1948052"/>
                  <a:ext cx="2062791" cy="999923"/>
                  <a:chOff x="3418451" y="1327507"/>
                  <a:chExt cx="2706124" cy="1321666"/>
                </a:xfrm>
              </p:grpSpPr>
              <p:sp>
                <p:nvSpPr>
                  <p:cNvPr id="288" name="Donut 46">
                    <a:extLst>
                      <a:ext uri="{FF2B5EF4-FFF2-40B4-BE49-F238E27FC236}">
                        <a16:creationId xmlns:a16="http://schemas.microsoft.com/office/drawing/2014/main" id="{700E5ACB-BE46-498F-A229-A0307AD0D05E}"/>
                      </a:ext>
                    </a:extLst>
                  </p:cNvPr>
                  <p:cNvSpPr/>
                  <p:nvPr/>
                </p:nvSpPr>
                <p:spPr>
                  <a:xfrm>
                    <a:off x="3418451" y="1327507"/>
                    <a:ext cx="2706124" cy="1321666"/>
                  </a:xfrm>
                  <a:prstGeom prst="donu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sp>
                <p:nvSpPr>
                  <p:cNvPr id="289" name="Freeform 47">
                    <a:extLst>
                      <a:ext uri="{FF2B5EF4-FFF2-40B4-BE49-F238E27FC236}">
                        <a16:creationId xmlns:a16="http://schemas.microsoft.com/office/drawing/2014/main" id="{EE45472C-ED43-4975-B387-2380E738386B}"/>
                      </a:ext>
                    </a:extLst>
                  </p:cNvPr>
                  <p:cNvSpPr/>
                  <p:nvPr/>
                </p:nvSpPr>
                <p:spPr>
                  <a:xfrm>
                    <a:off x="3474947" y="1704062"/>
                    <a:ext cx="2593132" cy="945111"/>
                  </a:xfrm>
                  <a:custGeom>
                    <a:avLst/>
                    <a:gdLst>
                      <a:gd name="connsiteX0" fmla="*/ 1296566 w 2593132"/>
                      <a:gd name="connsiteY0" fmla="*/ 0 h 945111"/>
                      <a:gd name="connsiteX1" fmla="*/ 2588797 w 2593132"/>
                      <a:gd name="connsiteY1" fmla="*/ 464321 h 945111"/>
                      <a:gd name="connsiteX2" fmla="*/ 2593132 w 2593132"/>
                      <a:gd name="connsiteY2" fmla="*/ 472556 h 945111"/>
                      <a:gd name="connsiteX3" fmla="*/ 2588797 w 2593132"/>
                      <a:gd name="connsiteY3" fmla="*/ 480790 h 945111"/>
                      <a:gd name="connsiteX4" fmla="*/ 1296566 w 2593132"/>
                      <a:gd name="connsiteY4" fmla="*/ 945111 h 945111"/>
                      <a:gd name="connsiteX5" fmla="*/ 4335 w 2593132"/>
                      <a:gd name="connsiteY5" fmla="*/ 480790 h 945111"/>
                      <a:gd name="connsiteX6" fmla="*/ 0 w 2593132"/>
                      <a:gd name="connsiteY6" fmla="*/ 472556 h 945111"/>
                      <a:gd name="connsiteX7" fmla="*/ 4335 w 2593132"/>
                      <a:gd name="connsiteY7" fmla="*/ 464321 h 945111"/>
                      <a:gd name="connsiteX8" fmla="*/ 1296566 w 2593132"/>
                      <a:gd name="connsiteY8" fmla="*/ 0 h 94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3132" h="945111">
                        <a:moveTo>
                          <a:pt x="1296566" y="0"/>
                        </a:moveTo>
                        <a:cubicBezTo>
                          <a:pt x="1903728" y="0"/>
                          <a:pt x="2417484" y="195317"/>
                          <a:pt x="2588797" y="464321"/>
                        </a:cubicBezTo>
                        <a:lnTo>
                          <a:pt x="2593132" y="472556"/>
                        </a:lnTo>
                        <a:lnTo>
                          <a:pt x="2588797" y="480790"/>
                        </a:lnTo>
                        <a:cubicBezTo>
                          <a:pt x="2417484" y="749794"/>
                          <a:pt x="1903728" y="945111"/>
                          <a:pt x="1296566" y="945111"/>
                        </a:cubicBezTo>
                        <a:cubicBezTo>
                          <a:pt x="689404" y="945111"/>
                          <a:pt x="175648" y="749794"/>
                          <a:pt x="4335" y="480790"/>
                        </a:cubicBezTo>
                        <a:lnTo>
                          <a:pt x="0" y="472556"/>
                        </a:lnTo>
                        <a:lnTo>
                          <a:pt x="4335" y="464321"/>
                        </a:lnTo>
                        <a:cubicBezTo>
                          <a:pt x="175648" y="195317"/>
                          <a:pt x="689404" y="0"/>
                          <a:pt x="1296566" y="0"/>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63"/>
                    <a:endParaRPr lang="en-IN">
                      <a:solidFill>
                        <a:srgbClr val="FFFFFF"/>
                      </a:solidFill>
                    </a:endParaRPr>
                  </a:p>
                </p:txBody>
              </p:sp>
            </p:grpSp>
          </p:grpSp>
          <p:sp>
            <p:nvSpPr>
              <p:cNvPr id="284" name="TextBox 42">
                <a:extLst>
                  <a:ext uri="{FF2B5EF4-FFF2-40B4-BE49-F238E27FC236}">
                    <a16:creationId xmlns:a16="http://schemas.microsoft.com/office/drawing/2014/main" id="{5C84B025-33E0-47B6-921A-90443ADE86DE}"/>
                  </a:ext>
                </a:extLst>
              </p:cNvPr>
              <p:cNvSpPr txBox="1"/>
              <p:nvPr/>
            </p:nvSpPr>
            <p:spPr>
              <a:xfrm>
                <a:off x="9851910" y="3659933"/>
                <a:ext cx="1107897" cy="763458"/>
              </a:xfrm>
              <a:prstGeom prst="rect">
                <a:avLst/>
              </a:prstGeom>
              <a:noFill/>
            </p:spPr>
            <p:txBody>
              <a:bodyPr wrap="none" lIns="179260" tIns="143408" rIns="179260" bIns="14340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Compute</a:t>
                </a:r>
              </a:p>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node</a:t>
                </a:r>
              </a:p>
            </p:txBody>
          </p:sp>
        </p:grpSp>
        <p:sp>
          <p:nvSpPr>
            <p:cNvPr id="262" name="Freeform 58">
              <a:extLst>
                <a:ext uri="{FF2B5EF4-FFF2-40B4-BE49-F238E27FC236}">
                  <a16:creationId xmlns:a16="http://schemas.microsoft.com/office/drawing/2014/main" id="{ACD89F1A-8DF2-4C8D-9500-3F3F9B2B0E2F}"/>
                </a:ext>
              </a:extLst>
            </p:cNvPr>
            <p:cNvSpPr/>
            <p:nvPr/>
          </p:nvSpPr>
          <p:spPr bwMode="auto">
            <a:xfrm>
              <a:off x="7036701" y="281612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3" tIns="143387" rIns="179233" bIns="14338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52" fontAlgn="base">
                <a:lnSpc>
                  <a:spcPct val="90000"/>
                </a:lnSpc>
                <a:spcBef>
                  <a:spcPct val="0"/>
                </a:spcBef>
                <a:spcAft>
                  <a:spcPct val="0"/>
                </a:spcAft>
              </a:pPr>
              <a:r>
                <a:rPr lang="en-IN" sz="1071" b="1">
                  <a:solidFill>
                    <a:srgbClr val="505050"/>
                  </a:solidFill>
                  <a:latin typeface="Segoe UI Light"/>
                  <a:ea typeface="Segoe UI" pitchFamily="34" charset="0"/>
                  <a:cs typeface="Segoe UI" pitchFamily="34" charset="0"/>
                </a:rPr>
                <a:t>SQL DB</a:t>
              </a:r>
            </a:p>
          </p:txBody>
        </p:sp>
        <p:sp>
          <p:nvSpPr>
            <p:cNvPr id="263" name="Freeform 59">
              <a:extLst>
                <a:ext uri="{FF2B5EF4-FFF2-40B4-BE49-F238E27FC236}">
                  <a16:creationId xmlns:a16="http://schemas.microsoft.com/office/drawing/2014/main" id="{C05C1A57-A90B-41F2-82DD-E06A87BF98A2}"/>
                </a:ext>
              </a:extLst>
            </p:cNvPr>
            <p:cNvSpPr/>
            <p:nvPr/>
          </p:nvSpPr>
          <p:spPr bwMode="auto">
            <a:xfrm>
              <a:off x="8510753" y="281612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3" tIns="143387" rIns="179233" bIns="14338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52" fontAlgn="base">
                <a:lnSpc>
                  <a:spcPct val="90000"/>
                </a:lnSpc>
                <a:spcBef>
                  <a:spcPct val="0"/>
                </a:spcBef>
                <a:spcAft>
                  <a:spcPct val="0"/>
                </a:spcAft>
              </a:pPr>
              <a:r>
                <a:rPr lang="en-IN" sz="1071" b="1">
                  <a:solidFill>
                    <a:srgbClr val="505050"/>
                  </a:solidFill>
                  <a:latin typeface="Segoe UI Light"/>
                  <a:ea typeface="Segoe UI" pitchFamily="34" charset="0"/>
                  <a:cs typeface="Segoe UI" pitchFamily="34" charset="0"/>
                </a:rPr>
                <a:t>SQL DB</a:t>
              </a:r>
            </a:p>
          </p:txBody>
        </p:sp>
        <p:sp>
          <p:nvSpPr>
            <p:cNvPr id="264" name="Freeform 60">
              <a:extLst>
                <a:ext uri="{FF2B5EF4-FFF2-40B4-BE49-F238E27FC236}">
                  <a16:creationId xmlns:a16="http://schemas.microsoft.com/office/drawing/2014/main" id="{B5995456-8881-4FB4-BD0B-FB12DA24B8E1}"/>
                </a:ext>
              </a:extLst>
            </p:cNvPr>
            <p:cNvSpPr/>
            <p:nvPr/>
          </p:nvSpPr>
          <p:spPr bwMode="auto">
            <a:xfrm>
              <a:off x="9974244" y="281612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3" tIns="143387" rIns="179233" bIns="14338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52" fontAlgn="base">
                <a:lnSpc>
                  <a:spcPct val="90000"/>
                </a:lnSpc>
                <a:spcBef>
                  <a:spcPct val="0"/>
                </a:spcBef>
                <a:spcAft>
                  <a:spcPct val="0"/>
                </a:spcAft>
              </a:pPr>
              <a:r>
                <a:rPr lang="en-IN" sz="1071" b="1">
                  <a:solidFill>
                    <a:srgbClr val="505050"/>
                  </a:solidFill>
                  <a:latin typeface="Segoe UI Light"/>
                  <a:ea typeface="Segoe UI" pitchFamily="34" charset="0"/>
                  <a:cs typeface="Segoe UI" pitchFamily="34" charset="0"/>
                </a:rPr>
                <a:t>SQL DB</a:t>
              </a:r>
            </a:p>
          </p:txBody>
        </p:sp>
        <p:sp>
          <p:nvSpPr>
            <p:cNvPr id="265" name="Freeform 61">
              <a:extLst>
                <a:ext uri="{FF2B5EF4-FFF2-40B4-BE49-F238E27FC236}">
                  <a16:creationId xmlns:a16="http://schemas.microsoft.com/office/drawing/2014/main" id="{1A5EDE87-58D3-4085-94E6-8E6A00FC4F28}"/>
                </a:ext>
              </a:extLst>
            </p:cNvPr>
            <p:cNvSpPr/>
            <p:nvPr/>
          </p:nvSpPr>
          <p:spPr bwMode="auto">
            <a:xfrm>
              <a:off x="11439784" y="2816120"/>
              <a:ext cx="667183" cy="41861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3" tIns="143387" rIns="179233" bIns="14338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52" fontAlgn="base">
                <a:lnSpc>
                  <a:spcPct val="90000"/>
                </a:lnSpc>
                <a:spcBef>
                  <a:spcPct val="0"/>
                </a:spcBef>
                <a:spcAft>
                  <a:spcPct val="0"/>
                </a:spcAft>
              </a:pPr>
              <a:r>
                <a:rPr lang="en-IN" sz="1071" b="1">
                  <a:solidFill>
                    <a:srgbClr val="505050"/>
                  </a:solidFill>
                  <a:latin typeface="Segoe UI Light"/>
                  <a:ea typeface="Segoe UI" pitchFamily="34" charset="0"/>
                  <a:cs typeface="Segoe UI" pitchFamily="34" charset="0"/>
                </a:rPr>
                <a:t>SQL DB</a:t>
              </a:r>
            </a:p>
          </p:txBody>
        </p:sp>
        <p:cxnSp>
          <p:nvCxnSpPr>
            <p:cNvPr id="266" name="Straight Connector 265">
              <a:extLst>
                <a:ext uri="{FF2B5EF4-FFF2-40B4-BE49-F238E27FC236}">
                  <a16:creationId xmlns:a16="http://schemas.microsoft.com/office/drawing/2014/main" id="{05ED2E84-1548-4065-87D2-1309B2A8A0D0}"/>
                </a:ext>
              </a:extLst>
            </p:cNvPr>
            <p:cNvCxnSpPr>
              <a:stCxn id="306" idx="3"/>
            </p:cNvCxnSpPr>
            <p:nvPr/>
          </p:nvCxnSpPr>
          <p:spPr>
            <a:xfrm>
              <a:off x="7945897" y="4113865"/>
              <a:ext cx="0" cy="440803"/>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24750E23-CEF3-4F62-874A-66E37E43C2D7}"/>
                </a:ext>
              </a:extLst>
            </p:cNvPr>
            <p:cNvCxnSpPr/>
            <p:nvPr/>
          </p:nvCxnSpPr>
          <p:spPr>
            <a:xfrm>
              <a:off x="9437813" y="4113865"/>
              <a:ext cx="0" cy="440803"/>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423E1618-D40F-4C76-9509-CB2ABF11D123}"/>
                </a:ext>
              </a:extLst>
            </p:cNvPr>
            <p:cNvCxnSpPr/>
            <p:nvPr/>
          </p:nvCxnSpPr>
          <p:spPr>
            <a:xfrm>
              <a:off x="10923471" y="4113865"/>
              <a:ext cx="0" cy="440803"/>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99030C35-18A1-45A2-BBE4-646B112A87B9}"/>
                </a:ext>
              </a:extLst>
            </p:cNvPr>
            <p:cNvCxnSpPr/>
            <p:nvPr/>
          </p:nvCxnSpPr>
          <p:spPr>
            <a:xfrm>
              <a:off x="12341768" y="4113865"/>
              <a:ext cx="0" cy="440803"/>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0" name="Rounded Rectangle 90">
              <a:extLst>
                <a:ext uri="{FF2B5EF4-FFF2-40B4-BE49-F238E27FC236}">
                  <a16:creationId xmlns:a16="http://schemas.microsoft.com/office/drawing/2014/main" id="{73376620-A7B3-4A75-BAC2-5CC0080ADFEF}"/>
                </a:ext>
              </a:extLst>
            </p:cNvPr>
            <p:cNvSpPr/>
            <p:nvPr/>
          </p:nvSpPr>
          <p:spPr>
            <a:xfrm>
              <a:off x="8915787" y="2015964"/>
              <a:ext cx="2228150" cy="452843"/>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28">
                  <a:solidFill>
                    <a:prstClr val="white"/>
                  </a:solidFill>
                </a:rPr>
                <a:t>Massively parallel processing (MPP) engine</a:t>
              </a:r>
            </a:p>
          </p:txBody>
        </p:sp>
        <p:sp>
          <p:nvSpPr>
            <p:cNvPr id="273" name="Rounded Rectangle 70">
              <a:extLst>
                <a:ext uri="{FF2B5EF4-FFF2-40B4-BE49-F238E27FC236}">
                  <a16:creationId xmlns:a16="http://schemas.microsoft.com/office/drawing/2014/main" id="{CF015D5D-A9B3-451B-8F20-F18286E3725C}"/>
                </a:ext>
              </a:extLst>
            </p:cNvPr>
            <p:cNvSpPr/>
            <p:nvPr/>
          </p:nvSpPr>
          <p:spPr>
            <a:xfrm>
              <a:off x="7446524" y="4554668"/>
              <a:ext cx="5100681" cy="1405288"/>
            </a:xfrm>
            <a:prstGeom prst="roundRect">
              <a:avLst/>
            </a:prstGeom>
            <a:solidFill>
              <a:srgbClr val="A8E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36">
                <a:solidFill>
                  <a:prstClr val="white"/>
                </a:solidFill>
              </a:endParaRPr>
            </a:p>
          </p:txBody>
        </p:sp>
        <p:sp>
          <p:nvSpPr>
            <p:cNvPr id="274" name="Freeform 62">
              <a:extLst>
                <a:ext uri="{FF2B5EF4-FFF2-40B4-BE49-F238E27FC236}">
                  <a16:creationId xmlns:a16="http://schemas.microsoft.com/office/drawing/2014/main" id="{9CCCF941-3577-4581-BCBC-68457A031647}"/>
                </a:ext>
              </a:extLst>
            </p:cNvPr>
            <p:cNvSpPr/>
            <p:nvPr/>
          </p:nvSpPr>
          <p:spPr bwMode="auto">
            <a:xfrm>
              <a:off x="8073629" y="4785099"/>
              <a:ext cx="1619592" cy="87647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3" tIns="143387" rIns="179233" bIns="14338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52" fontAlgn="base">
                <a:lnSpc>
                  <a:spcPct val="90000"/>
                </a:lnSpc>
                <a:spcBef>
                  <a:spcPct val="0"/>
                </a:spcBef>
                <a:spcAft>
                  <a:spcPct val="0"/>
                </a:spcAft>
              </a:pPr>
              <a:endParaRPr lang="en-IN" sz="1960" b="1">
                <a:solidFill>
                  <a:srgbClr val="505050"/>
                </a:solidFill>
                <a:latin typeface="Segoe UI Light"/>
                <a:ea typeface="Segoe UI" pitchFamily="34" charset="0"/>
                <a:cs typeface="Segoe UI" pitchFamily="34" charset="0"/>
              </a:endParaRPr>
            </a:p>
          </p:txBody>
        </p:sp>
        <p:sp>
          <p:nvSpPr>
            <p:cNvPr id="275" name="Flowchart: Magnetic Disk 274">
              <a:extLst>
                <a:ext uri="{FF2B5EF4-FFF2-40B4-BE49-F238E27FC236}">
                  <a16:creationId xmlns:a16="http://schemas.microsoft.com/office/drawing/2014/main" id="{0FF037FE-2AC2-4374-8711-4F11D2552519}"/>
                </a:ext>
              </a:extLst>
            </p:cNvPr>
            <p:cNvSpPr/>
            <p:nvPr/>
          </p:nvSpPr>
          <p:spPr>
            <a:xfrm>
              <a:off x="8560447" y="5060501"/>
              <a:ext cx="539015" cy="413887"/>
            </a:xfrm>
            <a:prstGeom prst="flowChartMagneticDisk">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36">
                <a:solidFill>
                  <a:prstClr val="white"/>
                </a:solidFill>
              </a:endParaRPr>
            </a:p>
          </p:txBody>
        </p:sp>
        <p:sp>
          <p:nvSpPr>
            <p:cNvPr id="276" name="Flowchart: Magnetic Disk 275">
              <a:extLst>
                <a:ext uri="{FF2B5EF4-FFF2-40B4-BE49-F238E27FC236}">
                  <a16:creationId xmlns:a16="http://schemas.microsoft.com/office/drawing/2014/main" id="{D5D82A24-26F7-4DD2-A848-E88547ECC1B5}"/>
                </a:ext>
              </a:extLst>
            </p:cNvPr>
            <p:cNvSpPr/>
            <p:nvPr/>
          </p:nvSpPr>
          <p:spPr>
            <a:xfrm>
              <a:off x="9126834" y="5060501"/>
              <a:ext cx="539015" cy="413887"/>
            </a:xfrm>
            <a:prstGeom prst="flowChartMagneticDisk">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36">
                <a:solidFill>
                  <a:prstClr val="white"/>
                </a:solidFill>
              </a:endParaRPr>
            </a:p>
          </p:txBody>
        </p:sp>
        <p:sp>
          <p:nvSpPr>
            <p:cNvPr id="277" name="Flowchart: Magnetic Disk 276">
              <a:extLst>
                <a:ext uri="{FF2B5EF4-FFF2-40B4-BE49-F238E27FC236}">
                  <a16:creationId xmlns:a16="http://schemas.microsoft.com/office/drawing/2014/main" id="{7879D75B-050D-461C-B862-6610233FAB0E}"/>
                </a:ext>
              </a:extLst>
            </p:cNvPr>
            <p:cNvSpPr/>
            <p:nvPr/>
          </p:nvSpPr>
          <p:spPr>
            <a:xfrm>
              <a:off x="9693221" y="5060501"/>
              <a:ext cx="539015" cy="413887"/>
            </a:xfrm>
            <a:prstGeom prst="flowChartMagneticDisk">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36">
                <a:solidFill>
                  <a:prstClr val="white"/>
                </a:solidFill>
              </a:endParaRPr>
            </a:p>
          </p:txBody>
        </p:sp>
        <p:sp>
          <p:nvSpPr>
            <p:cNvPr id="278" name="Flowchart: Magnetic Disk 277">
              <a:extLst>
                <a:ext uri="{FF2B5EF4-FFF2-40B4-BE49-F238E27FC236}">
                  <a16:creationId xmlns:a16="http://schemas.microsoft.com/office/drawing/2014/main" id="{382754FD-901A-48F9-AACD-B4C6ABD547B9}"/>
                </a:ext>
              </a:extLst>
            </p:cNvPr>
            <p:cNvSpPr/>
            <p:nvPr/>
          </p:nvSpPr>
          <p:spPr>
            <a:xfrm>
              <a:off x="10256734" y="5060501"/>
              <a:ext cx="539015" cy="413887"/>
            </a:xfrm>
            <a:prstGeom prst="flowChartMagneticDisk">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36">
                <a:solidFill>
                  <a:prstClr val="white"/>
                </a:solidFill>
              </a:endParaRPr>
            </a:p>
          </p:txBody>
        </p:sp>
        <p:sp>
          <p:nvSpPr>
            <p:cNvPr id="279" name="Flowchart: Magnetic Disk 278">
              <a:extLst>
                <a:ext uri="{FF2B5EF4-FFF2-40B4-BE49-F238E27FC236}">
                  <a16:creationId xmlns:a16="http://schemas.microsoft.com/office/drawing/2014/main" id="{ACEB1872-EBFC-4037-BA42-18F0ECE9E4CF}"/>
                </a:ext>
              </a:extLst>
            </p:cNvPr>
            <p:cNvSpPr/>
            <p:nvPr/>
          </p:nvSpPr>
          <p:spPr>
            <a:xfrm>
              <a:off x="10818051" y="5060501"/>
              <a:ext cx="539015" cy="413887"/>
            </a:xfrm>
            <a:prstGeom prst="flowChartMagneticDisk">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36">
                <a:solidFill>
                  <a:prstClr val="white"/>
                </a:solidFill>
              </a:endParaRPr>
            </a:p>
          </p:txBody>
        </p:sp>
        <p:sp>
          <p:nvSpPr>
            <p:cNvPr id="280" name="TextBox 100">
              <a:extLst>
                <a:ext uri="{FF2B5EF4-FFF2-40B4-BE49-F238E27FC236}">
                  <a16:creationId xmlns:a16="http://schemas.microsoft.com/office/drawing/2014/main" id="{98B94358-94F8-4820-88EE-AAB36019D209}"/>
                </a:ext>
              </a:extLst>
            </p:cNvPr>
            <p:cNvSpPr txBox="1"/>
            <p:nvPr/>
          </p:nvSpPr>
          <p:spPr>
            <a:xfrm>
              <a:off x="9222735" y="4673140"/>
              <a:ext cx="2192640" cy="474016"/>
            </a:xfrm>
            <a:prstGeom prst="rect">
              <a:avLst/>
            </a:prstGeom>
            <a:noFill/>
          </p:spPr>
          <p:txBody>
            <a:bodyPr wrap="square" lIns="179260" tIns="143408" rIns="179260" bIns="14340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Blob Storage [WASB(S)]</a:t>
              </a:r>
            </a:p>
          </p:txBody>
        </p:sp>
        <p:sp>
          <p:nvSpPr>
            <p:cNvPr id="281" name="TextBox 101">
              <a:extLst>
                <a:ext uri="{FF2B5EF4-FFF2-40B4-BE49-F238E27FC236}">
                  <a16:creationId xmlns:a16="http://schemas.microsoft.com/office/drawing/2014/main" id="{EF40F7A6-9643-4C5F-B9F6-459AD71C84E9}"/>
                </a:ext>
              </a:extLst>
            </p:cNvPr>
            <p:cNvSpPr txBox="1"/>
            <p:nvPr/>
          </p:nvSpPr>
          <p:spPr>
            <a:xfrm>
              <a:off x="8008849" y="5588990"/>
              <a:ext cx="1142030" cy="477735"/>
            </a:xfrm>
            <a:prstGeom prst="rect">
              <a:avLst/>
            </a:prstGeom>
            <a:noFill/>
          </p:spPr>
          <p:txBody>
            <a:bodyPr wrap="none" lIns="179260" tIns="143408" rIns="179260" bIns="14340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330" fontAlgn="base">
                <a:lnSpc>
                  <a:spcPct val="90000"/>
                </a:lnSpc>
                <a:spcBef>
                  <a:spcPct val="0"/>
                </a:spcBef>
                <a:spcAft>
                  <a:spcPts val="587"/>
                </a:spcAft>
              </a:pPr>
              <a:r>
                <a:rPr lang="en-US" sz="1399">
                  <a:solidFill>
                    <a:srgbClr val="515151"/>
                  </a:solidFill>
                  <a:ea typeface="MS PGothic" charset="0"/>
                  <a:cs typeface="Segoe UI" panose="020B0502040204020203" pitchFamily="34" charset="0"/>
                </a:rPr>
                <a:t>HDInsight</a:t>
              </a:r>
            </a:p>
          </p:txBody>
        </p:sp>
        <p:sp>
          <p:nvSpPr>
            <p:cNvPr id="282" name="Freeform 103">
              <a:extLst>
                <a:ext uri="{FF2B5EF4-FFF2-40B4-BE49-F238E27FC236}">
                  <a16:creationId xmlns:a16="http://schemas.microsoft.com/office/drawing/2014/main" id="{3316A54A-C61A-4EC2-8E2D-A5831411ACD7}"/>
                </a:ext>
              </a:extLst>
            </p:cNvPr>
            <p:cNvSpPr>
              <a:spLocks/>
            </p:cNvSpPr>
            <p:nvPr/>
          </p:nvSpPr>
          <p:spPr bwMode="auto">
            <a:xfrm>
              <a:off x="7494784" y="5211541"/>
              <a:ext cx="990606" cy="69474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002060"/>
            </a:solidFill>
            <a:ln>
              <a:solidFill>
                <a:schemeClr val="bg1"/>
              </a:solidFill>
            </a:ln>
          </p:spPr>
          <p:txBody>
            <a:bodyPr vert="horz" wrap="square" lIns="89604" tIns="44801" rIns="89604" bIns="4480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979" fontAlgn="base">
                <a:spcBef>
                  <a:spcPct val="0"/>
                </a:spcBef>
                <a:spcAft>
                  <a:spcPct val="0"/>
                </a:spcAft>
                <a:defRPr/>
              </a:pPr>
              <a:endParaRPr lang="en-IN" sz="2353" kern="0">
                <a:solidFill>
                  <a:srgbClr val="000000"/>
                </a:solidFill>
                <a:ea typeface="MS PGothic" charset="0"/>
              </a:endParaRPr>
            </a:p>
          </p:txBody>
        </p:sp>
      </p:grpSp>
      <p:sp>
        <p:nvSpPr>
          <p:cNvPr id="3" name="Arrow: Right 2">
            <a:extLst>
              <a:ext uri="{FF2B5EF4-FFF2-40B4-BE49-F238E27FC236}">
                <a16:creationId xmlns:a16="http://schemas.microsoft.com/office/drawing/2014/main" id="{353B3B2E-A1EB-400C-8991-ABA687A4FBA9}"/>
              </a:ext>
            </a:extLst>
          </p:cNvPr>
          <p:cNvSpPr/>
          <p:nvPr/>
        </p:nvSpPr>
        <p:spPr bwMode="auto">
          <a:xfrm>
            <a:off x="6899885" y="1448624"/>
            <a:ext cx="1263821" cy="982877"/>
          </a:xfrm>
          <a:prstGeom prs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44" name="Content Placeholder 1643"/>
          <p:cNvSpPr>
            <a:spLocks noGrp="1"/>
          </p:cNvSpPr>
          <p:nvPr>
            <p:ph type="body" sz="quarter" idx="10"/>
          </p:nvPr>
        </p:nvSpPr>
        <p:spPr>
          <a:xfrm>
            <a:off x="516340" y="1372338"/>
            <a:ext cx="6484260" cy="4970854"/>
          </a:xfrm>
        </p:spPr>
        <p:txBody>
          <a:bodyPr>
            <a:normAutofit/>
          </a:bodyPr>
          <a:lstStyle/>
          <a:p>
            <a:pPr marL="0" indent="0">
              <a:buNone/>
            </a:pPr>
            <a:r>
              <a:rPr lang="en-GB" sz="2800" dirty="0">
                <a:solidFill>
                  <a:srgbClr val="525252"/>
                </a:solidFill>
                <a:latin typeface="+mn-lt"/>
              </a:rPr>
              <a:t>User Issues Query …</a:t>
            </a:r>
          </a:p>
          <a:p>
            <a:pPr marL="0" indent="0">
              <a:buNone/>
            </a:pPr>
            <a:r>
              <a:rPr lang="en-GB" sz="2400" dirty="0">
                <a:solidFill>
                  <a:srgbClr val="525252"/>
                </a:solidFill>
                <a:latin typeface="+mn-lt"/>
              </a:rPr>
              <a:t>1.  SQL DW Engine</a:t>
            </a:r>
          </a:p>
          <a:p>
            <a:r>
              <a:rPr lang="en-GB" sz="2000" dirty="0">
                <a:solidFill>
                  <a:srgbClr val="525252"/>
                </a:solidFill>
                <a:latin typeface="+mn-lt"/>
              </a:rPr>
              <a:t>Queries Shell database on the Control node</a:t>
            </a:r>
          </a:p>
          <a:p>
            <a:r>
              <a:rPr lang="en-GB" sz="2000" dirty="0">
                <a:solidFill>
                  <a:srgbClr val="525252"/>
                </a:solidFill>
                <a:latin typeface="+mn-lt"/>
              </a:rPr>
              <a:t>Uses statistics to generate the search space</a:t>
            </a:r>
          </a:p>
          <a:p>
            <a:r>
              <a:rPr lang="en-GB" sz="2000" dirty="0">
                <a:solidFill>
                  <a:srgbClr val="525252"/>
                </a:solidFill>
                <a:latin typeface="+mn-lt"/>
              </a:rPr>
              <a:t>Generates the MPP Plan</a:t>
            </a:r>
          </a:p>
          <a:p>
            <a:r>
              <a:rPr lang="en-GB" sz="2000" dirty="0">
                <a:solidFill>
                  <a:srgbClr val="525252"/>
                </a:solidFill>
                <a:latin typeface="+mn-lt"/>
              </a:rPr>
              <a:t>Orchestrates a series of steps to resolve query</a:t>
            </a:r>
          </a:p>
          <a:p>
            <a:pPr marL="0" indent="0">
              <a:buNone/>
            </a:pPr>
            <a:r>
              <a:rPr lang="en-GB" sz="2400" dirty="0">
                <a:solidFill>
                  <a:srgbClr val="525252"/>
                </a:solidFill>
                <a:latin typeface="+mn-lt"/>
              </a:rPr>
              <a:t>2. SQL DB </a:t>
            </a:r>
          </a:p>
          <a:p>
            <a:r>
              <a:rPr lang="en-GB" sz="2000" dirty="0">
                <a:solidFill>
                  <a:srgbClr val="525252"/>
                </a:solidFill>
                <a:latin typeface="+mn-lt"/>
              </a:rPr>
              <a:t>Uses statistics held on Compute</a:t>
            </a:r>
          </a:p>
          <a:p>
            <a:r>
              <a:rPr lang="en-GB" sz="2000" dirty="0">
                <a:solidFill>
                  <a:srgbClr val="525252"/>
                </a:solidFill>
                <a:latin typeface="+mn-lt"/>
              </a:rPr>
              <a:t>Generate SMP plans for each query</a:t>
            </a:r>
          </a:p>
          <a:p>
            <a:pPr marL="0" indent="0">
              <a:buNone/>
            </a:pPr>
            <a:r>
              <a:rPr lang="en-GB" sz="2400" dirty="0">
                <a:solidFill>
                  <a:srgbClr val="525252"/>
                </a:solidFill>
                <a:latin typeface="+mn-lt"/>
              </a:rPr>
              <a:t>3. SQL DW Engine</a:t>
            </a:r>
          </a:p>
          <a:p>
            <a:r>
              <a:rPr lang="en-GB" sz="2000" dirty="0">
                <a:solidFill>
                  <a:srgbClr val="525252"/>
                </a:solidFill>
                <a:latin typeface="+mn-lt"/>
              </a:rPr>
              <a:t>Returns result to user </a:t>
            </a:r>
          </a:p>
          <a:p>
            <a:pPr marL="0" indent="0">
              <a:buNone/>
            </a:pPr>
            <a:endParaRPr lang="en-GB" sz="2000" dirty="0">
              <a:solidFill>
                <a:srgbClr val="525252"/>
              </a:solidFill>
            </a:endParaRPr>
          </a:p>
        </p:txBody>
      </p:sp>
    </p:spTree>
    <p:extLst>
      <p:ext uri="{BB962C8B-B14F-4D97-AF65-F5344CB8AC3E}">
        <p14:creationId xmlns:p14="http://schemas.microsoft.com/office/powerpoint/2010/main" val="555180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44">
                                            <p:txEl>
                                              <p:pRg st="0" end="0"/>
                                            </p:txEl>
                                          </p:spTgt>
                                        </p:tgtEl>
                                        <p:attrNameLst>
                                          <p:attrName>style.visibility</p:attrName>
                                        </p:attrNameLst>
                                      </p:cBhvr>
                                      <p:to>
                                        <p:strVal val="visible"/>
                                      </p:to>
                                    </p:set>
                                    <p:animEffect transition="in" filter="fade">
                                      <p:cBhvr>
                                        <p:cTn id="7" dur="500"/>
                                        <p:tgtEl>
                                          <p:spTgt spid="164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44">
                                            <p:txEl>
                                              <p:pRg st="1" end="1"/>
                                            </p:txEl>
                                          </p:spTgt>
                                        </p:tgtEl>
                                        <p:attrNameLst>
                                          <p:attrName>style.visibility</p:attrName>
                                        </p:attrNameLst>
                                      </p:cBhvr>
                                      <p:to>
                                        <p:strVal val="visible"/>
                                      </p:to>
                                    </p:set>
                                    <p:animEffect transition="in" filter="fade">
                                      <p:cBhvr>
                                        <p:cTn id="12" dur="500"/>
                                        <p:tgtEl>
                                          <p:spTgt spid="1644">
                                            <p:txEl>
                                              <p:pRg st="1" end="1"/>
                                            </p:txEl>
                                          </p:spTgt>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644">
                                            <p:txEl>
                                              <p:pRg st="2" end="2"/>
                                            </p:txEl>
                                          </p:spTgt>
                                        </p:tgtEl>
                                        <p:attrNameLst>
                                          <p:attrName>style.visibility</p:attrName>
                                        </p:attrNameLst>
                                      </p:cBhvr>
                                      <p:to>
                                        <p:strVal val="visible"/>
                                      </p:to>
                                    </p:set>
                                    <p:animEffect transition="in" filter="fade">
                                      <p:cBhvr>
                                        <p:cTn id="16" dur="500"/>
                                        <p:tgtEl>
                                          <p:spTgt spid="1644">
                                            <p:txEl>
                                              <p:pRg st="2" end="2"/>
                                            </p:txEl>
                                          </p:spTgt>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1644">
                                            <p:txEl>
                                              <p:pRg st="3" end="3"/>
                                            </p:txEl>
                                          </p:spTgt>
                                        </p:tgtEl>
                                        <p:attrNameLst>
                                          <p:attrName>style.visibility</p:attrName>
                                        </p:attrNameLst>
                                      </p:cBhvr>
                                      <p:to>
                                        <p:strVal val="visible"/>
                                      </p:to>
                                    </p:set>
                                    <p:animEffect transition="in" filter="fade">
                                      <p:cBhvr>
                                        <p:cTn id="20" dur="500"/>
                                        <p:tgtEl>
                                          <p:spTgt spid="164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44">
                                            <p:txEl>
                                              <p:pRg st="4" end="4"/>
                                            </p:txEl>
                                          </p:spTgt>
                                        </p:tgtEl>
                                        <p:attrNameLst>
                                          <p:attrName>style.visibility</p:attrName>
                                        </p:attrNameLst>
                                      </p:cBhvr>
                                      <p:to>
                                        <p:strVal val="visible"/>
                                      </p:to>
                                    </p:set>
                                    <p:animEffect transition="in" filter="fade">
                                      <p:cBhvr>
                                        <p:cTn id="25" dur="500"/>
                                        <p:tgtEl>
                                          <p:spTgt spid="1644">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644">
                                            <p:txEl>
                                              <p:pRg st="5" end="5"/>
                                            </p:txEl>
                                          </p:spTgt>
                                        </p:tgtEl>
                                        <p:attrNameLst>
                                          <p:attrName>style.visibility</p:attrName>
                                        </p:attrNameLst>
                                      </p:cBhvr>
                                      <p:to>
                                        <p:strVal val="visible"/>
                                      </p:to>
                                    </p:set>
                                    <p:animEffect transition="in" filter="fade">
                                      <p:cBhvr>
                                        <p:cTn id="30" dur="500"/>
                                        <p:tgtEl>
                                          <p:spTgt spid="1644">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644">
                                            <p:txEl>
                                              <p:pRg st="6" end="6"/>
                                            </p:txEl>
                                          </p:spTgt>
                                        </p:tgtEl>
                                        <p:attrNameLst>
                                          <p:attrName>style.visibility</p:attrName>
                                        </p:attrNameLst>
                                      </p:cBhvr>
                                      <p:to>
                                        <p:strVal val="visible"/>
                                      </p:to>
                                    </p:set>
                                    <p:animEffect transition="in" filter="fade">
                                      <p:cBhvr>
                                        <p:cTn id="35" dur="500"/>
                                        <p:tgtEl>
                                          <p:spTgt spid="1644">
                                            <p:txEl>
                                              <p:pRg st="6" end="6"/>
                                            </p:txEl>
                                          </p:spTgt>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1644">
                                            <p:txEl>
                                              <p:pRg st="7" end="7"/>
                                            </p:txEl>
                                          </p:spTgt>
                                        </p:tgtEl>
                                        <p:attrNameLst>
                                          <p:attrName>style.visibility</p:attrName>
                                        </p:attrNameLst>
                                      </p:cBhvr>
                                      <p:to>
                                        <p:strVal val="visible"/>
                                      </p:to>
                                    </p:set>
                                    <p:animEffect transition="in" filter="fade">
                                      <p:cBhvr>
                                        <p:cTn id="39" dur="500"/>
                                        <p:tgtEl>
                                          <p:spTgt spid="1644">
                                            <p:txEl>
                                              <p:pRg st="7" end="7"/>
                                            </p:txEl>
                                          </p:spTgt>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1644">
                                            <p:txEl>
                                              <p:pRg st="8" end="8"/>
                                            </p:txEl>
                                          </p:spTgt>
                                        </p:tgtEl>
                                        <p:attrNameLst>
                                          <p:attrName>style.visibility</p:attrName>
                                        </p:attrNameLst>
                                      </p:cBhvr>
                                      <p:to>
                                        <p:strVal val="visible"/>
                                      </p:to>
                                    </p:set>
                                    <p:animEffect transition="in" filter="fade">
                                      <p:cBhvr>
                                        <p:cTn id="43" dur="500"/>
                                        <p:tgtEl>
                                          <p:spTgt spid="1644">
                                            <p:txEl>
                                              <p:pRg st="8" end="8"/>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644">
                                            <p:txEl>
                                              <p:pRg st="9" end="9"/>
                                            </p:txEl>
                                          </p:spTgt>
                                        </p:tgtEl>
                                        <p:attrNameLst>
                                          <p:attrName>style.visibility</p:attrName>
                                        </p:attrNameLst>
                                      </p:cBhvr>
                                      <p:to>
                                        <p:strVal val="visible"/>
                                      </p:to>
                                    </p:set>
                                    <p:animEffect transition="in" filter="fade">
                                      <p:cBhvr>
                                        <p:cTn id="48" dur="500"/>
                                        <p:tgtEl>
                                          <p:spTgt spid="1644">
                                            <p:txEl>
                                              <p:pRg st="9" end="9"/>
                                            </p:txEl>
                                          </p:spTgt>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1644">
                                            <p:txEl>
                                              <p:pRg st="10" end="10"/>
                                            </p:txEl>
                                          </p:spTgt>
                                        </p:tgtEl>
                                        <p:attrNameLst>
                                          <p:attrName>style.visibility</p:attrName>
                                        </p:attrNameLst>
                                      </p:cBhvr>
                                      <p:to>
                                        <p:strVal val="visible"/>
                                      </p:to>
                                    </p:set>
                                    <p:animEffect transition="in" filter="fade">
                                      <p:cBhvr>
                                        <p:cTn id="52" dur="500"/>
                                        <p:tgtEl>
                                          <p:spTgt spid="164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4"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a:solidFill>
                  <a:srgbClr val="525252"/>
                </a:solidFill>
              </a:rPr>
              <a:t>Statistics Candidates</a:t>
            </a:r>
          </a:p>
        </p:txBody>
      </p:sp>
      <p:graphicFrame>
        <p:nvGraphicFramePr>
          <p:cNvPr id="3" name="Diagram 2">
            <a:extLst>
              <a:ext uri="{FF2B5EF4-FFF2-40B4-BE49-F238E27FC236}">
                <a16:creationId xmlns:a16="http://schemas.microsoft.com/office/drawing/2014/main" id="{C1C185F5-318A-4783-BB64-0B012022B5A6}"/>
              </a:ext>
            </a:extLst>
          </p:cNvPr>
          <p:cNvGraphicFramePr/>
          <p:nvPr>
            <p:extLst>
              <p:ext uri="{D42A27DB-BD31-4B8C-83A1-F6EECF244321}">
                <p14:modId xmlns:p14="http://schemas.microsoft.com/office/powerpoint/2010/main" val="3466872795"/>
              </p:ext>
            </p:extLst>
          </p:nvPr>
        </p:nvGraphicFramePr>
        <p:xfrm>
          <a:off x="655637" y="1212849"/>
          <a:ext cx="10667999" cy="56603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7681016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a:t>Lesson 2: Understanding Statistics Objects</a:t>
            </a:r>
          </a:p>
        </p:txBody>
      </p:sp>
    </p:spTree>
    <p:extLst>
      <p:ext uri="{BB962C8B-B14F-4D97-AF65-F5344CB8AC3E}">
        <p14:creationId xmlns:p14="http://schemas.microsoft.com/office/powerpoint/2010/main" val="3366162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Statistics objects</a:t>
            </a:r>
          </a:p>
          <a:p>
            <a:pPr lvl="1"/>
            <a:r>
              <a:rPr lang="en-US" dirty="0"/>
              <a:t>Table level statistics </a:t>
            </a:r>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2076743364"/>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EE921FEF-31A5-45B4-BEDC-74D6FBAF51FF}"/>
              </a:ext>
            </a:extLst>
          </p:cNvPr>
          <p:cNvGraphicFramePr/>
          <p:nvPr>
            <p:extLst>
              <p:ext uri="{D42A27DB-BD31-4B8C-83A1-F6EECF244321}">
                <p14:modId xmlns:p14="http://schemas.microsoft.com/office/powerpoint/2010/main" val="3245778935"/>
              </p:ext>
            </p:extLst>
          </p:nvPr>
        </p:nvGraphicFramePr>
        <p:xfrm>
          <a:off x="457200" y="1212849"/>
          <a:ext cx="11389660" cy="52013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GB" sz="3200">
                <a:solidFill>
                  <a:srgbClr val="525252"/>
                </a:solidFill>
              </a:rPr>
              <a:t>What are Statistics Objects?</a:t>
            </a:r>
          </a:p>
        </p:txBody>
      </p:sp>
    </p:spTree>
    <p:extLst>
      <p:ext uri="{BB962C8B-B14F-4D97-AF65-F5344CB8AC3E}">
        <p14:creationId xmlns:p14="http://schemas.microsoft.com/office/powerpoint/2010/main" val="400670721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4E0CEB4-1EDC-4E6A-BB02-78354D86C985}"/>
              </a:ext>
            </a:extLst>
          </p:cNvPr>
          <p:cNvGraphicFramePr/>
          <p:nvPr>
            <p:extLst>
              <p:ext uri="{D42A27DB-BD31-4B8C-83A1-F6EECF244321}">
                <p14:modId xmlns:p14="http://schemas.microsoft.com/office/powerpoint/2010/main" val="3442852069"/>
              </p:ext>
            </p:extLst>
          </p:nvPr>
        </p:nvGraphicFramePr>
        <p:xfrm>
          <a:off x="274638" y="1389832"/>
          <a:ext cx="11887200" cy="4577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sz="3200">
                <a:solidFill>
                  <a:srgbClr val="525252"/>
                </a:solidFill>
              </a:rPr>
              <a:t>Table Level Statistics</a:t>
            </a:r>
          </a:p>
        </p:txBody>
      </p:sp>
    </p:spTree>
    <p:extLst>
      <p:ext uri="{BB962C8B-B14F-4D97-AF65-F5344CB8AC3E}">
        <p14:creationId xmlns:p14="http://schemas.microsoft.com/office/powerpoint/2010/main" val="15439168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4E1-6976-4CB5-AA91-B888585A5510}"/>
              </a:ext>
            </a:extLst>
          </p:cNvPr>
          <p:cNvSpPr>
            <a:spLocks noGrp="1"/>
          </p:cNvSpPr>
          <p:nvPr>
            <p:ph type="title"/>
          </p:nvPr>
        </p:nvSpPr>
        <p:spPr/>
        <p:txBody>
          <a:bodyPr/>
          <a:lstStyle/>
          <a:p>
            <a:r>
              <a:rPr lang="en-US" dirty="0"/>
              <a:t>Showing Statistics</a:t>
            </a:r>
          </a:p>
        </p:txBody>
      </p:sp>
      <p:pic>
        <p:nvPicPr>
          <p:cNvPr id="6" name="Picture 5">
            <a:extLst>
              <a:ext uri="{FF2B5EF4-FFF2-40B4-BE49-F238E27FC236}">
                <a16:creationId xmlns:a16="http://schemas.microsoft.com/office/drawing/2014/main" id="{E60F2CBA-AAF7-4D1F-A57E-C4CCAB53577B}"/>
              </a:ext>
            </a:extLst>
          </p:cNvPr>
          <p:cNvPicPr>
            <a:picLocks noChangeAspect="1"/>
          </p:cNvPicPr>
          <p:nvPr/>
        </p:nvPicPr>
        <p:blipFill>
          <a:blip r:embed="rId2"/>
          <a:stretch>
            <a:fillRect/>
          </a:stretch>
        </p:blipFill>
        <p:spPr>
          <a:xfrm>
            <a:off x="578903" y="1101096"/>
            <a:ext cx="10343678" cy="4402766"/>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D2E8EFE0-8C76-4469-8DDC-11A4E60CED7F}"/>
              </a:ext>
            </a:extLst>
          </p:cNvPr>
          <p:cNvPicPr>
            <a:picLocks noChangeAspect="1"/>
          </p:cNvPicPr>
          <p:nvPr/>
        </p:nvPicPr>
        <p:blipFill>
          <a:blip r:embed="rId3"/>
          <a:stretch>
            <a:fillRect/>
          </a:stretch>
        </p:blipFill>
        <p:spPr>
          <a:xfrm>
            <a:off x="8472028" y="3652696"/>
            <a:ext cx="3516904" cy="311072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1663336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9F567F8-955A-4F13-822E-315EB13C144F}"/>
              </a:ext>
            </a:extLst>
          </p:cNvPr>
          <p:cNvGraphicFramePr/>
          <p:nvPr>
            <p:extLst>
              <p:ext uri="{D42A27DB-BD31-4B8C-83A1-F6EECF244321}">
                <p14:modId xmlns:p14="http://schemas.microsoft.com/office/powerpoint/2010/main" val="724974428"/>
              </p:ext>
            </p:extLst>
          </p:nvPr>
        </p:nvGraphicFramePr>
        <p:xfrm>
          <a:off x="685799" y="1212850"/>
          <a:ext cx="10959354" cy="52282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sz="3200">
                <a:solidFill>
                  <a:srgbClr val="525252"/>
                </a:solidFill>
              </a:rPr>
              <a:t>What is in a Statistic Object</a:t>
            </a:r>
          </a:p>
        </p:txBody>
      </p:sp>
    </p:spTree>
    <p:extLst>
      <p:ext uri="{BB962C8B-B14F-4D97-AF65-F5344CB8AC3E}">
        <p14:creationId xmlns:p14="http://schemas.microsoft.com/office/powerpoint/2010/main" val="42196867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109151" y="642785"/>
            <a:ext cx="7093291" cy="5708957"/>
          </a:xfrm>
        </p:spPr>
        <p:txBody>
          <a:bodyPr/>
          <a:lstStyle/>
          <a:p>
            <a:r>
              <a:rPr lang="en-US" dirty="0"/>
              <a:t>Lesson 1: Why are statistics so important?</a:t>
            </a:r>
          </a:p>
          <a:p>
            <a:r>
              <a:rPr lang="en-US" dirty="0"/>
              <a:t>Lesson 2: Understanding Statistics Objects</a:t>
            </a:r>
          </a:p>
          <a:p>
            <a:r>
              <a:rPr lang="en-US" dirty="0"/>
              <a:t>Lesson 3: Creating Statistics</a:t>
            </a:r>
          </a:p>
          <a:p>
            <a:endParaRPr lang="en-US" dirty="0"/>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3200">
                <a:solidFill>
                  <a:srgbClr val="525252"/>
                </a:solidFill>
              </a:rPr>
              <a:t>Feature Support</a:t>
            </a:r>
          </a:p>
        </p:txBody>
      </p:sp>
      <p:graphicFrame>
        <p:nvGraphicFramePr>
          <p:cNvPr id="8" name="Content Placeholder 7">
            <a:extLst>
              <a:ext uri="{FF2B5EF4-FFF2-40B4-BE49-F238E27FC236}">
                <a16:creationId xmlns:a16="http://schemas.microsoft.com/office/drawing/2014/main" id="{E73468F7-8446-4EFD-82A5-D3F73F4B6794}"/>
              </a:ext>
            </a:extLst>
          </p:cNvPr>
          <p:cNvGraphicFramePr>
            <a:graphicFrameLocks noGrp="1"/>
          </p:cNvGraphicFramePr>
          <p:nvPr>
            <p:ph sz="half" idx="2"/>
            <p:extLst>
              <p:ext uri="{D42A27DB-BD31-4B8C-83A1-F6EECF244321}">
                <p14:modId xmlns:p14="http://schemas.microsoft.com/office/powerpoint/2010/main" val="3419933039"/>
              </p:ext>
            </p:extLst>
          </p:nvPr>
        </p:nvGraphicFramePr>
        <p:xfrm>
          <a:off x="856627" y="1897062"/>
          <a:ext cx="10619410" cy="365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06177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3: Creating, Update, Drop Statistics</a:t>
            </a:r>
          </a:p>
        </p:txBody>
      </p:sp>
    </p:spTree>
    <p:extLst>
      <p:ext uri="{BB962C8B-B14F-4D97-AF65-F5344CB8AC3E}">
        <p14:creationId xmlns:p14="http://schemas.microsoft.com/office/powerpoint/2010/main" val="185089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Type of Statistics objects</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2306112558"/>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a:solidFill>
                  <a:srgbClr val="525252"/>
                </a:solidFill>
              </a:rPr>
              <a:t>Create Statistics DDL </a:t>
            </a:r>
          </a:p>
        </p:txBody>
      </p:sp>
      <p:sp>
        <p:nvSpPr>
          <p:cNvPr id="9" name="Rectangle 8"/>
          <p:cNvSpPr/>
          <p:nvPr/>
        </p:nvSpPr>
        <p:spPr>
          <a:xfrm>
            <a:off x="855768" y="1724345"/>
            <a:ext cx="7876053" cy="3046988"/>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CREATE</a:t>
            </a: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GB"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STATISTICS</a:t>
            </a: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GB"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stats_name</a:t>
            </a: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ON </a:t>
            </a:r>
            <a:r>
              <a:rPr kumimoji="0" lang="en-GB"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database_name.dbo.table_name</a:t>
            </a: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mn-cs"/>
              </a:rPr>
              <a:t>(</a:t>
            </a: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a:t>
            </a:r>
            <a:r>
              <a:rPr kumimoji="0" lang="en-GB" sz="24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mn-cs"/>
              </a:rPr>
              <a:t>column_name</a:t>
            </a:r>
            <a:endPar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mn-cs"/>
              </a:rPr>
              <a:t>,</a:t>
            </a: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column2_nam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mn-cs"/>
              </a:rPr>
              <a: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mn-cs"/>
              </a:rPr>
              <a:t>WHERE </a:t>
            </a: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FILTER_PREDICAT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WITH FULLSCAN </a:t>
            </a:r>
            <a:r>
              <a:rPr kumimoji="0" lang="en-GB" sz="24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mn-cs"/>
              </a:rPr>
              <a:t>|</a:t>
            </a: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 SAMPLE n PERCEN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mn-cs"/>
              </a:rPr>
              <a:t>;</a:t>
            </a:r>
            <a:endParaRPr kumimoji="0" lang="en-GB" sz="24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Rectangle 9"/>
          <p:cNvSpPr/>
          <p:nvPr/>
        </p:nvSpPr>
        <p:spPr>
          <a:xfrm>
            <a:off x="9348110" y="3433676"/>
            <a:ext cx="2203000" cy="2203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GB" sz="2856" b="0" i="0" u="none" strike="noStrike" kern="1200" cap="none" spc="0" normalizeH="0" baseline="0" noProof="0">
                <a:ln>
                  <a:noFill/>
                </a:ln>
                <a:solidFill>
                  <a:srgbClr val="FFFFFF"/>
                </a:solidFill>
                <a:effectLst/>
                <a:uLnTx/>
                <a:uFillTx/>
                <a:latin typeface="Segoe UI Light"/>
                <a:ea typeface="+mn-ea"/>
                <a:cs typeface="+mn-cs"/>
              </a:rPr>
              <a:t>SAMPLE</a:t>
            </a:r>
          </a:p>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GB" sz="1224"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GB" sz="2856" b="0" i="0" u="none" strike="noStrike" kern="1200" cap="none" spc="0" normalizeH="0" baseline="0" noProof="0">
                <a:ln>
                  <a:noFill/>
                </a:ln>
                <a:solidFill>
                  <a:srgbClr val="FFFFFF"/>
                </a:solidFill>
                <a:effectLst/>
                <a:uLnTx/>
                <a:uFillTx/>
                <a:latin typeface="Segoe UI Light"/>
                <a:ea typeface="+mn-ea"/>
                <a:cs typeface="+mn-cs"/>
              </a:rPr>
              <a:t>Percent only not Rows</a:t>
            </a:r>
          </a:p>
        </p:txBody>
      </p:sp>
    </p:spTree>
    <p:extLst>
      <p:ext uri="{BB962C8B-B14F-4D97-AF65-F5344CB8AC3E}">
        <p14:creationId xmlns:p14="http://schemas.microsoft.com/office/powerpoint/2010/main" val="402079831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4EA09C31-E918-4A05-BBD2-3C8FF5F3089C}"/>
              </a:ext>
            </a:extLst>
          </p:cNvPr>
          <p:cNvGraphicFramePr/>
          <p:nvPr>
            <p:extLst>
              <p:ext uri="{D42A27DB-BD31-4B8C-83A1-F6EECF244321}">
                <p14:modId xmlns:p14="http://schemas.microsoft.com/office/powerpoint/2010/main" val="246821111"/>
              </p:ext>
            </p:extLst>
          </p:nvPr>
        </p:nvGraphicFramePr>
        <p:xfrm>
          <a:off x="280988" y="1236994"/>
          <a:ext cx="11401676" cy="28438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sz="3200">
                <a:solidFill>
                  <a:srgbClr val="525252"/>
                </a:solidFill>
              </a:rPr>
              <a:t>Auto Statistics</a:t>
            </a:r>
          </a:p>
        </p:txBody>
      </p:sp>
    </p:spTree>
    <p:extLst>
      <p:ext uri="{BB962C8B-B14F-4D97-AF65-F5344CB8AC3E}">
        <p14:creationId xmlns:p14="http://schemas.microsoft.com/office/powerpoint/2010/main" val="15203484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D90E7D00-3C1A-4256-B521-71AA04D0794C}"/>
              </a:ext>
            </a:extLst>
          </p:cNvPr>
          <p:cNvGraphicFramePr/>
          <p:nvPr>
            <p:extLst>
              <p:ext uri="{D42A27DB-BD31-4B8C-83A1-F6EECF244321}">
                <p14:modId xmlns:p14="http://schemas.microsoft.com/office/powerpoint/2010/main" val="3454052212"/>
              </p:ext>
            </p:extLst>
          </p:nvPr>
        </p:nvGraphicFramePr>
        <p:xfrm>
          <a:off x="274638" y="1212849"/>
          <a:ext cx="11887200" cy="48751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sz="3200">
                <a:solidFill>
                  <a:srgbClr val="525252"/>
                </a:solidFill>
              </a:rPr>
              <a:t>Creating Stats – Best Practices</a:t>
            </a:r>
          </a:p>
        </p:txBody>
      </p:sp>
    </p:spTree>
    <p:extLst>
      <p:ext uri="{BB962C8B-B14F-4D97-AF65-F5344CB8AC3E}">
        <p14:creationId xmlns:p14="http://schemas.microsoft.com/office/powerpoint/2010/main" val="79358255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06CDBE5A-89C8-4044-85AE-6CF81C09CF12}"/>
              </a:ext>
            </a:extLst>
          </p:cNvPr>
          <p:cNvGraphicFramePr/>
          <p:nvPr>
            <p:extLst>
              <p:ext uri="{D42A27DB-BD31-4B8C-83A1-F6EECF244321}">
                <p14:modId xmlns:p14="http://schemas.microsoft.com/office/powerpoint/2010/main" val="450132474"/>
              </p:ext>
            </p:extLst>
          </p:nvPr>
        </p:nvGraphicFramePr>
        <p:xfrm>
          <a:off x="275481" y="1346957"/>
          <a:ext cx="11888722" cy="53522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sz="3200">
                <a:solidFill>
                  <a:srgbClr val="525252"/>
                </a:solidFill>
              </a:rPr>
              <a:t>If you don’t create stats straight away…</a:t>
            </a:r>
          </a:p>
        </p:txBody>
      </p:sp>
    </p:spTree>
    <p:extLst>
      <p:ext uri="{BB962C8B-B14F-4D97-AF65-F5344CB8AC3E}">
        <p14:creationId xmlns:p14="http://schemas.microsoft.com/office/powerpoint/2010/main" val="257097965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a:solidFill>
                  <a:srgbClr val="525252"/>
                </a:solidFill>
              </a:rPr>
              <a:t>Statistics Strategies – Single Column</a:t>
            </a:r>
          </a:p>
        </p:txBody>
      </p:sp>
      <p:graphicFrame>
        <p:nvGraphicFramePr>
          <p:cNvPr id="3" name="Content Placeholder 2">
            <a:extLst>
              <a:ext uri="{FF2B5EF4-FFF2-40B4-BE49-F238E27FC236}">
                <a16:creationId xmlns:a16="http://schemas.microsoft.com/office/drawing/2014/main" id="{58FF0347-43CA-4841-8F6E-605F1CBADBCB}"/>
              </a:ext>
            </a:extLst>
          </p:cNvPr>
          <p:cNvGraphicFramePr>
            <a:graphicFrameLocks noGrp="1"/>
          </p:cNvGraphicFramePr>
          <p:nvPr>
            <p:ph sz="half" idx="4294967295"/>
            <p:extLst>
              <p:ext uri="{D42A27DB-BD31-4B8C-83A1-F6EECF244321}">
                <p14:modId xmlns:p14="http://schemas.microsoft.com/office/powerpoint/2010/main" val="3821964673"/>
              </p:ext>
            </p:extLst>
          </p:nvPr>
        </p:nvGraphicFramePr>
        <p:xfrm>
          <a:off x="178985" y="1762002"/>
          <a:ext cx="11889563" cy="37579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5598062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2272" y="1212850"/>
            <a:ext cx="5488766" cy="627864"/>
          </a:xfrm>
        </p:spPr>
        <p:txBody>
          <a:bodyPr/>
          <a:lstStyle/>
          <a:p>
            <a:pPr marL="0" indent="0">
              <a:buNone/>
            </a:pPr>
            <a:r>
              <a:rPr lang="en-GB" sz="3200" b="1">
                <a:solidFill>
                  <a:srgbClr val="525252"/>
                </a:solidFill>
              </a:rPr>
              <a:t>Good For:</a:t>
            </a:r>
          </a:p>
        </p:txBody>
      </p:sp>
      <p:sp>
        <p:nvSpPr>
          <p:cNvPr id="2" name="Title 1"/>
          <p:cNvSpPr>
            <a:spLocks noGrp="1"/>
          </p:cNvSpPr>
          <p:nvPr>
            <p:ph type="title"/>
          </p:nvPr>
        </p:nvSpPr>
        <p:spPr/>
        <p:txBody>
          <a:bodyPr/>
          <a:lstStyle/>
          <a:p>
            <a:r>
              <a:rPr lang="en-GB" sz="3200">
                <a:solidFill>
                  <a:srgbClr val="525252"/>
                </a:solidFill>
              </a:rPr>
              <a:t>Statistics Strategies – Multi-Column</a:t>
            </a:r>
          </a:p>
        </p:txBody>
      </p:sp>
      <p:graphicFrame>
        <p:nvGraphicFramePr>
          <p:cNvPr id="8" name="Content Placeholder 7">
            <a:extLst>
              <a:ext uri="{FF2B5EF4-FFF2-40B4-BE49-F238E27FC236}">
                <a16:creationId xmlns:a16="http://schemas.microsoft.com/office/drawing/2014/main" id="{C37DB6B5-7A25-474F-BB2B-6DD8E08333BB}"/>
              </a:ext>
            </a:extLst>
          </p:cNvPr>
          <p:cNvGraphicFramePr>
            <a:graphicFrameLocks noGrp="1"/>
          </p:cNvGraphicFramePr>
          <p:nvPr>
            <p:ph sz="half" idx="4294967295"/>
            <p:extLst>
              <p:ext uri="{D42A27DB-BD31-4B8C-83A1-F6EECF244321}">
                <p14:modId xmlns:p14="http://schemas.microsoft.com/office/powerpoint/2010/main" val="2507707931"/>
              </p:ext>
            </p:extLst>
          </p:nvPr>
        </p:nvGraphicFramePr>
        <p:xfrm>
          <a:off x="274638" y="2125662"/>
          <a:ext cx="6234446" cy="42357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4"/>
          <p:cNvSpPr>
            <a:spLocks noGrp="1"/>
          </p:cNvSpPr>
          <p:nvPr>
            <p:ph type="body" sz="quarter" idx="4294967295"/>
          </p:nvPr>
        </p:nvSpPr>
        <p:spPr>
          <a:xfrm>
            <a:off x="6675436" y="1212849"/>
            <a:ext cx="5486400" cy="1304973"/>
          </a:xfrm>
        </p:spPr>
        <p:txBody>
          <a:bodyPr/>
          <a:lstStyle/>
          <a:p>
            <a:pPr marL="0" indent="0">
              <a:buNone/>
            </a:pPr>
            <a:r>
              <a:rPr lang="en-GB" sz="3200" b="1"/>
              <a:t>Not Used for:</a:t>
            </a:r>
          </a:p>
          <a:p>
            <a:pPr marL="0" indent="0">
              <a:buNone/>
            </a:pPr>
            <a:endParaRPr lang="en-GB" b="1"/>
          </a:p>
        </p:txBody>
      </p:sp>
      <p:graphicFrame>
        <p:nvGraphicFramePr>
          <p:cNvPr id="6" name="Content Placeholder 7">
            <a:extLst>
              <a:ext uri="{FF2B5EF4-FFF2-40B4-BE49-F238E27FC236}">
                <a16:creationId xmlns:a16="http://schemas.microsoft.com/office/drawing/2014/main" id="{797C0785-FE79-4275-9F68-8AA1909AFB95}"/>
              </a:ext>
            </a:extLst>
          </p:cNvPr>
          <p:cNvGraphicFramePr>
            <a:graphicFrameLocks/>
          </p:cNvGraphicFramePr>
          <p:nvPr>
            <p:extLst>
              <p:ext uri="{D42A27DB-BD31-4B8C-83A1-F6EECF244321}">
                <p14:modId xmlns:p14="http://schemas.microsoft.com/office/powerpoint/2010/main" val="2368439659"/>
              </p:ext>
            </p:extLst>
          </p:nvPr>
        </p:nvGraphicFramePr>
        <p:xfrm>
          <a:off x="6675436" y="2127888"/>
          <a:ext cx="5486400" cy="1371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65410908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A8C117F-2222-4C9B-AB4B-5CCFC63D4BC9}"/>
              </a:ext>
            </a:extLst>
          </p:cNvPr>
          <p:cNvGraphicFramePr/>
          <p:nvPr>
            <p:extLst>
              <p:ext uri="{D42A27DB-BD31-4B8C-83A1-F6EECF244321}">
                <p14:modId xmlns:p14="http://schemas.microsoft.com/office/powerpoint/2010/main" val="1831742859"/>
              </p:ext>
            </p:extLst>
          </p:nvPr>
        </p:nvGraphicFramePr>
        <p:xfrm>
          <a:off x="729292" y="1419326"/>
          <a:ext cx="10977890" cy="47012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6"/>
          <p:cNvSpPr>
            <a:spLocks noGrp="1"/>
          </p:cNvSpPr>
          <p:nvPr>
            <p:ph type="title"/>
          </p:nvPr>
        </p:nvSpPr>
        <p:spPr/>
        <p:txBody>
          <a:bodyPr/>
          <a:lstStyle/>
          <a:p>
            <a:r>
              <a:rPr lang="en-GB" sz="3200">
                <a:solidFill>
                  <a:srgbClr val="525252"/>
                </a:solidFill>
              </a:rPr>
              <a:t>Statistics Strategies – Filtered Stats</a:t>
            </a:r>
          </a:p>
        </p:txBody>
      </p:sp>
    </p:spTree>
    <p:extLst>
      <p:ext uri="{BB962C8B-B14F-4D97-AF65-F5344CB8AC3E}">
        <p14:creationId xmlns:p14="http://schemas.microsoft.com/office/powerpoint/2010/main" val="41840169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a:t>Lesson 1: Why are statistics so important?</a:t>
            </a:r>
          </a:p>
        </p:txBody>
      </p:sp>
    </p:spTree>
    <p:extLst>
      <p:ext uri="{BB962C8B-B14F-4D97-AF65-F5344CB8AC3E}">
        <p14:creationId xmlns:p14="http://schemas.microsoft.com/office/powerpoint/2010/main" val="40837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E6EFF897-434D-40FC-B271-25C2FB52877C}"/>
              </a:ext>
            </a:extLst>
          </p:cNvPr>
          <p:cNvGraphicFramePr/>
          <p:nvPr>
            <p:extLst>
              <p:ext uri="{D42A27DB-BD31-4B8C-83A1-F6EECF244321}">
                <p14:modId xmlns:p14="http://schemas.microsoft.com/office/powerpoint/2010/main" val="1200368964"/>
              </p:ext>
            </p:extLst>
          </p:nvPr>
        </p:nvGraphicFramePr>
        <p:xfrm>
          <a:off x="280987" y="1236995"/>
          <a:ext cx="9645065" cy="2561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sz="3200">
                <a:solidFill>
                  <a:srgbClr val="525252"/>
                </a:solidFill>
              </a:rPr>
              <a:t>Drop Statistics DDL</a:t>
            </a:r>
          </a:p>
        </p:txBody>
      </p:sp>
      <p:sp>
        <p:nvSpPr>
          <p:cNvPr id="8" name="Rectangle 7"/>
          <p:cNvSpPr/>
          <p:nvPr/>
        </p:nvSpPr>
        <p:spPr>
          <a:xfrm>
            <a:off x="350608" y="4829343"/>
            <a:ext cx="11093510" cy="46166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00FF"/>
                </a:solidFill>
                <a:effectLst/>
                <a:highlight>
                  <a:srgbClr val="FFFFFF"/>
                </a:highlight>
                <a:uLnTx/>
                <a:uFillTx/>
                <a:latin typeface="Consolas" panose="020B0609020204030204" pitchFamily="49" charset="0"/>
                <a:ea typeface="+mn-ea"/>
                <a:cs typeface="+mn-cs"/>
              </a:rPr>
              <a:t>DROP STATISTICS </a:t>
            </a:r>
            <a:r>
              <a:rPr kumimoji="0" lang="en-GB" sz="2400" b="0" i="0" u="none" strike="noStrike" kern="1200" cap="none" spc="0" normalizeH="0" baseline="0" noProof="0" err="1">
                <a:ln>
                  <a:noFill/>
                </a:ln>
                <a:solidFill>
                  <a:srgbClr val="000000"/>
                </a:solidFill>
                <a:effectLst/>
                <a:highlight>
                  <a:srgbClr val="FFFFFF"/>
                </a:highlight>
                <a:uLnTx/>
                <a:uFillTx/>
                <a:latin typeface="Consolas" panose="020B0609020204030204" pitchFamily="49" charset="0"/>
                <a:ea typeface="+mn-ea"/>
                <a:cs typeface="+mn-cs"/>
              </a:rPr>
              <a:t>database_name.dbo.table_name</a:t>
            </a:r>
            <a:r>
              <a:rPr kumimoji="0" lang="en-GB" sz="2400" b="0" i="0" u="none" strike="noStrike" kern="1200" cap="none" spc="0" normalizeH="0" baseline="0" noProof="0">
                <a:ln>
                  <a:noFill/>
                </a:ln>
                <a:solidFill>
                  <a:srgbClr val="808080"/>
                </a:solidFill>
                <a:effectLst/>
                <a:highlight>
                  <a:srgbClr val="FFFFFF"/>
                </a:highlight>
                <a:uLnTx/>
                <a:uFillTx/>
                <a:latin typeface="Consolas" panose="020B0609020204030204" pitchFamily="49" charset="0"/>
                <a:ea typeface="+mn-ea"/>
                <a:cs typeface="+mn-cs"/>
              </a:rPr>
              <a:t>;</a:t>
            </a:r>
            <a:endParaRPr kumimoji="0" lang="en-GB" sz="24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3503664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48139" y="294677"/>
            <a:ext cx="11887454" cy="471159"/>
          </a:xfrm>
        </p:spPr>
        <p:txBody>
          <a:bodyPr/>
          <a:lstStyle/>
          <a:p>
            <a:r>
              <a:rPr lang="en-US">
                <a:noFill/>
              </a:rPr>
              <a:t>Microsoft</a:t>
            </a:r>
          </a:p>
        </p:txBody>
      </p:sp>
    </p:spTree>
    <p:custDataLst>
      <p:tags r:id="rId1"/>
    </p:custDataLst>
    <p:extLst>
      <p:ext uri="{BB962C8B-B14F-4D97-AF65-F5344CB8AC3E}">
        <p14:creationId xmlns:p14="http://schemas.microsoft.com/office/powerpoint/2010/main" val="68316382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Importance of Statistics</a:t>
            </a:r>
          </a:p>
          <a:p>
            <a:pPr lvl="1"/>
            <a:r>
              <a:rPr lang="en-US" dirty="0"/>
              <a:t>How statistics are used by MPP environment</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8951C77-565F-4165-9F65-2C4621D83B72}"/>
              </a:ext>
            </a:extLst>
          </p:cNvPr>
          <p:cNvGraphicFramePr/>
          <p:nvPr>
            <p:extLst>
              <p:ext uri="{D42A27DB-BD31-4B8C-83A1-F6EECF244321}">
                <p14:modId xmlns:p14="http://schemas.microsoft.com/office/powerpoint/2010/main" val="3596563539"/>
              </p:ext>
            </p:extLst>
          </p:nvPr>
        </p:nvGraphicFramePr>
        <p:xfrm>
          <a:off x="156314" y="1236994"/>
          <a:ext cx="12123843" cy="31208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pPr>
              <a:lnSpc>
                <a:spcPts val="3620"/>
              </a:lnSpc>
            </a:pPr>
            <a:r>
              <a:rPr lang="en-US" sz="3200" spc="-50">
                <a:solidFill>
                  <a:schemeClr val="tx1"/>
                </a:solidFill>
                <a:latin typeface="Segoe UI Semibold" panose="020B0702040204020203" pitchFamily="34" charset="0"/>
                <a:cs typeface="Segoe UI Semibold" panose="020B0702040204020203" pitchFamily="34" charset="0"/>
              </a:rPr>
              <a:t>Why are statistics so important?</a:t>
            </a:r>
          </a:p>
        </p:txBody>
      </p:sp>
      <p:sp>
        <p:nvSpPr>
          <p:cNvPr id="5" name="TextBox 4">
            <a:extLst>
              <a:ext uri="{FF2B5EF4-FFF2-40B4-BE49-F238E27FC236}">
                <a16:creationId xmlns:a16="http://schemas.microsoft.com/office/drawing/2014/main" id="{E924011A-EC88-4D63-9EE0-4BB639510411}"/>
              </a:ext>
            </a:extLst>
          </p:cNvPr>
          <p:cNvSpPr txBox="1"/>
          <p:nvPr/>
        </p:nvSpPr>
        <p:spPr>
          <a:xfrm>
            <a:off x="4202236" y="3732773"/>
            <a:ext cx="4099327" cy="1446550"/>
          </a:xfrm>
          <a:prstGeom prst="rect">
            <a:avLst/>
          </a:prstGeom>
          <a:noFill/>
        </p:spPr>
        <p:txBody>
          <a:bodyPr wrap="none" lIns="182880" tIns="146304" rIns="182880" bIns="146304" rtlCol="0">
            <a:spAutoFit/>
          </a:bodyPr>
          <a:lstStyle/>
          <a:p>
            <a:pPr>
              <a:lnSpc>
                <a:spcPct val="90000"/>
              </a:lnSpc>
              <a:spcAft>
                <a:spcPts val="600"/>
              </a:spcAft>
            </a:pPr>
            <a:r>
              <a:rPr lang="en-GB" sz="2400" dirty="0">
                <a:solidFill>
                  <a:srgbClr val="525252"/>
                </a:solidFill>
              </a:rPr>
              <a:t>In other words, to estimate </a:t>
            </a:r>
          </a:p>
          <a:p>
            <a:pPr algn="ctr">
              <a:lnSpc>
                <a:spcPct val="90000"/>
              </a:lnSpc>
              <a:spcAft>
                <a:spcPts val="600"/>
              </a:spcAft>
            </a:pPr>
            <a:r>
              <a:rPr lang="en-GB" sz="2400" i="1" dirty="0">
                <a:solidFill>
                  <a:srgbClr val="525252"/>
                </a:solidFill>
              </a:rPr>
              <a:t>cardinality</a:t>
            </a:r>
          </a:p>
          <a:p>
            <a:pPr>
              <a:lnSpc>
                <a:spcPct val="90000"/>
              </a:lnSpc>
              <a:spcAft>
                <a:spcPts val="600"/>
              </a:spcAft>
            </a:pPr>
            <a:endParaRPr lang="en-US" sz="2400" dirty="0">
              <a:gradFill>
                <a:gsLst>
                  <a:gs pos="2917">
                    <a:schemeClr val="tx1"/>
                  </a:gs>
                  <a:gs pos="30000">
                    <a:schemeClr val="tx1"/>
                  </a:gs>
                </a:gsLst>
                <a:lin ang="5400000" scaled="0"/>
              </a:gradFill>
            </a:endParaRPr>
          </a:p>
        </p:txBody>
      </p:sp>
      <p:sp>
        <p:nvSpPr>
          <p:cNvPr id="6" name="Rectangle 5">
            <a:extLst>
              <a:ext uri="{FF2B5EF4-FFF2-40B4-BE49-F238E27FC236}">
                <a16:creationId xmlns:a16="http://schemas.microsoft.com/office/drawing/2014/main" id="{F230A653-C3E8-43F0-92CD-D5FD5F50AED7}"/>
              </a:ext>
            </a:extLst>
          </p:cNvPr>
          <p:cNvSpPr/>
          <p:nvPr/>
        </p:nvSpPr>
        <p:spPr>
          <a:xfrm>
            <a:off x="1444786" y="5531649"/>
            <a:ext cx="9546900" cy="1077218"/>
          </a:xfrm>
          <a:prstGeom prst="rect">
            <a:avLst/>
          </a:prstGeom>
        </p:spPr>
        <p:txBody>
          <a:bodyPr wrap="square">
            <a:spAutoFit/>
          </a:bodyPr>
          <a:lstStyle/>
          <a:p>
            <a:r>
              <a:rPr lang="en-GB" sz="3200" i="1"/>
              <a:t>The process of estimating the number of rows flowing through the operators of a query execution plan</a:t>
            </a:r>
            <a:endParaRPr lang="en-US" sz="3200"/>
          </a:p>
        </p:txBody>
      </p:sp>
      <p:sp>
        <p:nvSpPr>
          <p:cNvPr id="7" name="Arrow: Down 6">
            <a:extLst>
              <a:ext uri="{FF2B5EF4-FFF2-40B4-BE49-F238E27FC236}">
                <a16:creationId xmlns:a16="http://schemas.microsoft.com/office/drawing/2014/main" id="{7703E491-D535-4A49-BB51-021F86749E71}"/>
              </a:ext>
            </a:extLst>
          </p:cNvPr>
          <p:cNvSpPr/>
          <p:nvPr/>
        </p:nvSpPr>
        <p:spPr bwMode="auto">
          <a:xfrm>
            <a:off x="5989636" y="4710174"/>
            <a:ext cx="457200" cy="6337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312281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2F71C8C-6B1D-4C28-A45B-B792A003AE4E}"/>
              </a:ext>
            </a:extLst>
          </p:cNvPr>
          <p:cNvGraphicFramePr/>
          <p:nvPr>
            <p:extLst>
              <p:ext uri="{D42A27DB-BD31-4B8C-83A1-F6EECF244321}">
                <p14:modId xmlns:p14="http://schemas.microsoft.com/office/powerpoint/2010/main" val="2892220894"/>
              </p:ext>
            </p:extLst>
          </p:nvPr>
        </p:nvGraphicFramePr>
        <p:xfrm>
          <a:off x="274638" y="1362752"/>
          <a:ext cx="11887200" cy="51038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normAutofit/>
          </a:bodyPr>
          <a:lstStyle/>
          <a:p>
            <a:r>
              <a:rPr lang="en-GB" sz="3200">
                <a:solidFill>
                  <a:srgbClr val="525252"/>
                </a:solidFill>
              </a:rPr>
              <a:t>Accurate</a:t>
            </a:r>
            <a:r>
              <a:rPr lang="en-GB" sz="3200" i="1">
                <a:solidFill>
                  <a:srgbClr val="525252"/>
                </a:solidFill>
              </a:rPr>
              <a:t> </a:t>
            </a:r>
            <a:r>
              <a:rPr lang="en-GB" sz="3200">
                <a:solidFill>
                  <a:srgbClr val="525252"/>
                </a:solidFill>
              </a:rPr>
              <a:t>cardinality estimation</a:t>
            </a:r>
          </a:p>
        </p:txBody>
      </p:sp>
    </p:spTree>
    <p:extLst>
      <p:ext uri="{BB962C8B-B14F-4D97-AF65-F5344CB8AC3E}">
        <p14:creationId xmlns:p14="http://schemas.microsoft.com/office/powerpoint/2010/main" val="407032075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CB2717BB-96FF-4D14-B18F-665529B2F382}"/>
              </a:ext>
            </a:extLst>
          </p:cNvPr>
          <p:cNvGraphicFramePr/>
          <p:nvPr>
            <p:extLst>
              <p:ext uri="{D42A27DB-BD31-4B8C-83A1-F6EECF244321}">
                <p14:modId xmlns:p14="http://schemas.microsoft.com/office/powerpoint/2010/main" val="2325163724"/>
              </p:ext>
            </p:extLst>
          </p:nvPr>
        </p:nvGraphicFramePr>
        <p:xfrm>
          <a:off x="275481" y="1648326"/>
          <a:ext cx="11885514" cy="42866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GB" sz="3200">
                <a:solidFill>
                  <a:srgbClr val="525252"/>
                </a:solidFill>
              </a:rPr>
              <a:t>Who uses Statistics?</a:t>
            </a:r>
          </a:p>
        </p:txBody>
      </p:sp>
    </p:spTree>
    <p:extLst>
      <p:ext uri="{BB962C8B-B14F-4D97-AF65-F5344CB8AC3E}">
        <p14:creationId xmlns:p14="http://schemas.microsoft.com/office/powerpoint/2010/main" val="36866926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6C481F-16AD-4D6C-83D3-DC1D233B3291}"/>
              </a:ext>
            </a:extLst>
          </p:cNvPr>
          <p:cNvSpPr>
            <a:spLocks noGrp="1"/>
          </p:cNvSpPr>
          <p:nvPr>
            <p:ph type="title"/>
          </p:nvPr>
        </p:nvSpPr>
        <p:spPr/>
        <p:txBody>
          <a:bodyPr/>
          <a:lstStyle/>
          <a:p>
            <a:r>
              <a:rPr lang="en-GB" sz="3264" dirty="0"/>
              <a:t>Statistics usage in SQL Pool databases – MPP level</a:t>
            </a:r>
            <a:endParaRPr lang="en-US" dirty="0"/>
          </a:p>
        </p:txBody>
      </p:sp>
      <p:graphicFrame>
        <p:nvGraphicFramePr>
          <p:cNvPr id="5" name="Content Placeholder 4">
            <a:extLst>
              <a:ext uri="{FF2B5EF4-FFF2-40B4-BE49-F238E27FC236}">
                <a16:creationId xmlns:a16="http://schemas.microsoft.com/office/drawing/2014/main" id="{54CB8039-8343-404A-B932-AB8D514FF567}"/>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87493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6C481F-16AD-4D6C-83D3-DC1D233B3291}"/>
              </a:ext>
            </a:extLst>
          </p:cNvPr>
          <p:cNvSpPr>
            <a:spLocks noGrp="1"/>
          </p:cNvSpPr>
          <p:nvPr>
            <p:ph type="title"/>
          </p:nvPr>
        </p:nvSpPr>
        <p:spPr/>
        <p:txBody>
          <a:bodyPr/>
          <a:lstStyle/>
          <a:p>
            <a:r>
              <a:rPr lang="en-GB" sz="3264" dirty="0"/>
              <a:t>Statistics usage in SQL Pool databases – Distribution level</a:t>
            </a:r>
            <a:endParaRPr lang="en-US" dirty="0"/>
          </a:p>
        </p:txBody>
      </p:sp>
      <p:graphicFrame>
        <p:nvGraphicFramePr>
          <p:cNvPr id="5" name="Content Placeholder 4">
            <a:extLst>
              <a:ext uri="{FF2B5EF4-FFF2-40B4-BE49-F238E27FC236}">
                <a16:creationId xmlns:a16="http://schemas.microsoft.com/office/drawing/2014/main" id="{54CB8039-8343-404A-B932-AB8D514FF567}"/>
              </a:ext>
            </a:extLst>
          </p:cNvPr>
          <p:cNvGraphicFramePr>
            <a:graphicFrameLocks noGrp="1"/>
          </p:cNvGraphicFramePr>
          <p:nvPr>
            <p:ph sz="quarter" idx="13"/>
          </p:nvPr>
        </p:nvGraphicFramePr>
        <p:xfrm>
          <a:off x="669572" y="1436145"/>
          <a:ext cx="11097333" cy="36992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3324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EB95863F-80A5-4395-BC99-D256B2677DFB}"/>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049C9B04-611F-4F96-A503-3B399F13ECCB}"/>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Master_Template_Synapse.pptx" id="{79629E0D-DE60-400E-921E-E5299AF045D4}" vid="{9ECA069C-25CC-4AD7-B7CC-2502A7655AAE}"/>
    </a:ext>
  </a:extLst>
</a:theme>
</file>

<file path=ppt/theme/theme4.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EB95863F-80A5-4395-BC99-D256B2677DFB}"/>
    </a:ext>
  </a:extLst>
</a:theme>
</file>

<file path=ppt/theme/theme5.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66b6bb9-0c3b-4baf-b7e0-24038b18f231">
      <UserInfo>
        <DisplayName>DW PFE Ramp-up Members</DisplayName>
        <AccountId>7</AccountId>
        <AccountType/>
      </UserInfo>
    </SharedWithUsers>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56B9F71D-0312-4584-A185-D3FC64E29FC0}">
  <ds:schemaRefs>
    <ds:schemaRef ds:uri="Strauss.PersonalizationDefinition"/>
  </ds:schemaRefs>
</ds:datastoreItem>
</file>

<file path=customXml/itemProps10.xml><?xml version="1.0" encoding="utf-8"?>
<ds:datastoreItem xmlns:ds="http://schemas.openxmlformats.org/officeDocument/2006/customXml" ds:itemID="{3401E605-5EFD-4BA7-9442-6535DAB88827}">
  <ds:schemaRefs>
    <ds:schemaRef ds:uri="Strauss.PersonalizationDefinition"/>
  </ds:schemaRefs>
</ds:datastoreItem>
</file>

<file path=customXml/itemProps11.xml><?xml version="1.0" encoding="utf-8"?>
<ds:datastoreItem xmlns:ds="http://schemas.openxmlformats.org/officeDocument/2006/customXml" ds:itemID="{E3603795-5D6B-4842-ABFE-F565FA9414C6}">
  <ds:schemaRefs>
    <ds:schemaRef ds:uri="Strauss.PersonalizationDefinition"/>
  </ds:schemaRefs>
</ds:datastoreItem>
</file>

<file path=customXml/itemProps12.xml><?xml version="1.0" encoding="utf-8"?>
<ds:datastoreItem xmlns:ds="http://schemas.openxmlformats.org/officeDocument/2006/customXml" ds:itemID="{B9FBE3F9-0A63-48D2-8F55-72ACEBE625DE}">
  <ds:schemaRefs>
    <ds:schemaRef ds:uri="Strauss.PersonalizationDefinition"/>
  </ds:schemaRefs>
</ds:datastoreItem>
</file>

<file path=customXml/itemProps13.xml><?xml version="1.0" encoding="utf-8"?>
<ds:datastoreItem xmlns:ds="http://schemas.openxmlformats.org/officeDocument/2006/customXml" ds:itemID="{E8389C6B-9844-4FD0-B0D6-E46F0168A025}">
  <ds:schemaRefs>
    <ds:schemaRef ds:uri="Strauss.PersonalizationDefinition"/>
  </ds:schemaRefs>
</ds:datastoreItem>
</file>

<file path=customXml/itemProps14.xml><?xml version="1.0" encoding="utf-8"?>
<ds:datastoreItem xmlns:ds="http://schemas.openxmlformats.org/officeDocument/2006/customXml" ds:itemID="{14CA8128-2005-44FE-9899-945704087947}">
  <ds:schemaRefs>
    <ds:schemaRef ds:uri="Strauss.PersonalizationDefinition"/>
  </ds:schemaRefs>
</ds:datastoreItem>
</file>

<file path=customXml/itemProps15.xml><?xml version="1.0" encoding="utf-8"?>
<ds:datastoreItem xmlns:ds="http://schemas.openxmlformats.org/officeDocument/2006/customXml" ds:itemID="{C68DFDA4-9A7D-4A03-88F7-3F01D0044E37}">
  <ds:schemaRefs>
    <ds:schemaRef ds:uri="Strauss.PersonalizationDefinition"/>
  </ds:schemaRefs>
</ds:datastoreItem>
</file>

<file path=customXml/itemProps16.xml><?xml version="1.0" encoding="utf-8"?>
<ds:datastoreItem xmlns:ds="http://schemas.openxmlformats.org/officeDocument/2006/customXml" ds:itemID="{EEB694FF-5DD0-49F5-96E8-A79AF1DB0EE3}">
  <ds:schemaRefs>
    <ds:schemaRef ds:uri="Strauss.PersonalizationDefinition"/>
  </ds:schemaRefs>
</ds:datastoreItem>
</file>

<file path=customXml/itemProps17.xml><?xml version="1.0" encoding="utf-8"?>
<ds:datastoreItem xmlns:ds="http://schemas.openxmlformats.org/officeDocument/2006/customXml" ds:itemID="{2C32DB48-9320-458C-AAE7-E2C9BB7FF90A}">
  <ds:schemaRefs>
    <ds:schemaRef ds:uri="Strauss.PersonalizationDefinition"/>
  </ds:schemaRefs>
</ds:datastoreItem>
</file>

<file path=customXml/itemProps18.xml><?xml version="1.0" encoding="utf-8"?>
<ds:datastoreItem xmlns:ds="http://schemas.openxmlformats.org/officeDocument/2006/customXml" ds:itemID="{0A3BB0A2-D781-4EC7-B560-FD220B5CE840}">
  <ds:schemaRefs>
    <ds:schemaRef ds:uri="Strauss.PersonalizationDefinition"/>
  </ds:schemaRefs>
</ds:datastoreItem>
</file>

<file path=customXml/itemProps19.xml><?xml version="1.0" encoding="utf-8"?>
<ds:datastoreItem xmlns:ds="http://schemas.openxmlformats.org/officeDocument/2006/customXml" ds:itemID="{743B7EB3-D1AC-4530-A9BF-2A7763C2F618}">
  <ds:schemaRefs>
    <ds:schemaRef ds:uri="Strauss.PersonalizationDefinition"/>
  </ds:schemaRefs>
</ds:datastoreItem>
</file>

<file path=customXml/itemProps2.xml><?xml version="1.0" encoding="utf-8"?>
<ds:datastoreItem xmlns:ds="http://schemas.openxmlformats.org/officeDocument/2006/customXml" ds:itemID="{75B0C203-2022-4776-86B8-1FA12F054FE6}">
  <ds:schemaRefs>
    <ds:schemaRef ds:uri="Strauss.PersonalizationDefinition"/>
  </ds:schemaRefs>
</ds:datastoreItem>
</file>

<file path=customXml/itemProps20.xml><?xml version="1.0" encoding="utf-8"?>
<ds:datastoreItem xmlns:ds="http://schemas.openxmlformats.org/officeDocument/2006/customXml" ds:itemID="{75C7FDF4-3DAC-4E12-85C0-A4168026EC6E}">
  <ds:schemaRefs>
    <ds:schemaRef ds:uri="Strauss.PersonalizationDefinition"/>
  </ds:schemaRefs>
</ds:datastoreItem>
</file>

<file path=customXml/itemProps21.xml><?xml version="1.0" encoding="utf-8"?>
<ds:datastoreItem xmlns:ds="http://schemas.openxmlformats.org/officeDocument/2006/customXml" ds:itemID="{E05CE124-6B5C-4BD1-A159-B56E2AFAEA0D}">
  <ds:schemaRefs>
    <ds:schemaRef ds:uri="Strauss.PersonalizationDefinition"/>
  </ds:schemaRefs>
</ds:datastoreItem>
</file>

<file path=customXml/itemProps22.xml><?xml version="1.0" encoding="utf-8"?>
<ds:datastoreItem xmlns:ds="http://schemas.openxmlformats.org/officeDocument/2006/customXml" ds:itemID="{2992010A-31DD-41B1-B373-8E0EC33642EF}">
  <ds:schemaRefs>
    <ds:schemaRef ds:uri="Strauss.PersonalizationDefinition"/>
  </ds:schemaRefs>
</ds:datastoreItem>
</file>

<file path=customXml/itemProps23.xml><?xml version="1.0" encoding="utf-8"?>
<ds:datastoreItem xmlns:ds="http://schemas.openxmlformats.org/officeDocument/2006/customXml" ds:itemID="{F990F116-B58F-4255-B05B-DA3808E0E5C6}">
  <ds:schemaRefs>
    <ds:schemaRef ds:uri="40650e35-5471-45d3-b28a-3f2a8b1bc025"/>
    <ds:schemaRef ds:uri="ac57c417-f8e7-4332-a7b2-e7f34f734eb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b66b6bb9-0c3b-4baf-b7e0-24038b18f231"/>
    <ds:schemaRef ds:uri="0b15a96f-9efd-4f0c-b199-c53b2a01cb9d"/>
    <ds:schemaRef ds:uri="6cd3d847-4521-4863-8800-2cff076dfc18"/>
    <ds:schemaRef ds:uri="230e9df3-be65-4c73-a93b-d1236ebd677e"/>
  </ds:schemaRefs>
</ds:datastoreItem>
</file>

<file path=customXml/itemProps3.xml><?xml version="1.0" encoding="utf-8"?>
<ds:datastoreItem xmlns:ds="http://schemas.openxmlformats.org/officeDocument/2006/customXml" ds:itemID="{772CAEB3-F6A6-459B-BBBC-D05E94E0B7A0}">
  <ds:schemaRefs>
    <ds:schemaRef ds:uri="Strauss.PersonalizationDefinition"/>
  </ds:schemaRefs>
</ds:datastoreItem>
</file>

<file path=customXml/itemProps4.xml><?xml version="1.0" encoding="utf-8"?>
<ds:datastoreItem xmlns:ds="http://schemas.openxmlformats.org/officeDocument/2006/customXml" ds:itemID="{3F61A2B5-DDC0-4AEC-944B-0EF4C04760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D9ED8427-CE01-4C7F-BB78-54FF12CE66D8}">
  <ds:schemaRefs>
    <ds:schemaRef ds:uri="Strauss.PersonalizationDefinition"/>
  </ds:schemaRefs>
</ds:datastoreItem>
</file>

<file path=customXml/itemProps6.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7.xml><?xml version="1.0" encoding="utf-8"?>
<ds:datastoreItem xmlns:ds="http://schemas.openxmlformats.org/officeDocument/2006/customXml" ds:itemID="{92874353-9DBD-4416-AAFF-746987ADAA50}">
  <ds:schemaRefs>
    <ds:schemaRef ds:uri="Strauss.PersonalizationDefinition"/>
  </ds:schemaRefs>
</ds:datastoreItem>
</file>

<file path=customXml/itemProps8.xml><?xml version="1.0" encoding="utf-8"?>
<ds:datastoreItem xmlns:ds="http://schemas.openxmlformats.org/officeDocument/2006/customXml" ds:itemID="{B8771E8B-20B3-470C-9F0F-9C4772186AD7}">
  <ds:schemaRefs>
    <ds:schemaRef ds:uri="Strauss.PersonalizationDefinition"/>
  </ds:schemaRefs>
</ds:datastoreItem>
</file>

<file path=customXml/itemProps9.xml><?xml version="1.0" encoding="utf-8"?>
<ds:datastoreItem xmlns:ds="http://schemas.openxmlformats.org/officeDocument/2006/customXml" ds:itemID="{194E1148-FEDB-45EA-8ADE-A5DBC7A506F9}">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PTO Module template</Template>
  <TotalTime>67</TotalTime>
  <Words>2664</Words>
  <Application>Microsoft Office PowerPoint</Application>
  <PresentationFormat>Custom</PresentationFormat>
  <Paragraphs>330</Paragraphs>
  <Slides>31</Slides>
  <Notes>28</Notes>
  <HiddenSlides>1</HiddenSlides>
  <MMClips>0</MMClips>
  <ScaleCrop>false</ScaleCrop>
  <HeadingPairs>
    <vt:vector size="6" baseType="variant">
      <vt:variant>
        <vt:lpstr>Fonts Used</vt:lpstr>
      </vt:variant>
      <vt:variant>
        <vt:i4>9</vt:i4>
      </vt:variant>
      <vt:variant>
        <vt:lpstr>Theme</vt:lpstr>
      </vt:variant>
      <vt:variant>
        <vt:i4>6</vt:i4>
      </vt:variant>
      <vt:variant>
        <vt:lpstr>Slide Titles</vt:lpstr>
      </vt:variant>
      <vt:variant>
        <vt:i4>31</vt:i4>
      </vt:variant>
    </vt:vector>
  </HeadingPairs>
  <TitlesOfParts>
    <vt:vector size="46" baseType="lpstr">
      <vt:lpstr>Arial</vt:lpstr>
      <vt:lpstr>Calibri</vt:lpstr>
      <vt:lpstr>Calibri Light</vt:lpstr>
      <vt:lpstr>Comic Sans MS</vt:lpstr>
      <vt:lpstr>Consolas</vt:lpstr>
      <vt:lpstr>Segoe UI</vt:lpstr>
      <vt:lpstr>Segoe UI Light</vt:lpstr>
      <vt:lpstr>Segoe UI Semibold</vt:lpstr>
      <vt:lpstr>Wingdings</vt:lpstr>
      <vt:lpstr>WHITE TEMPLATE</vt:lpstr>
      <vt:lpstr>COLOR TEMPLATE</vt:lpstr>
      <vt:lpstr>Dark Blue</vt:lpstr>
      <vt:lpstr>1_WHITE TEMPLATE</vt:lpstr>
      <vt:lpstr>Dark Blue</vt:lpstr>
      <vt:lpstr>1_Dark Blue</vt:lpstr>
      <vt:lpstr>Statistics </vt:lpstr>
      <vt:lpstr>Learning units covered in this module</vt:lpstr>
      <vt:lpstr>Lesson 1: Why are statistics so important?</vt:lpstr>
      <vt:lpstr>Objectives</vt:lpstr>
      <vt:lpstr>Why are statistics so important?</vt:lpstr>
      <vt:lpstr>Accurate cardinality estimation</vt:lpstr>
      <vt:lpstr>Who uses Statistics?</vt:lpstr>
      <vt:lpstr>Statistics usage in SQL Pool databases – MPP level</vt:lpstr>
      <vt:lpstr>Statistics usage in SQL Pool databases – Distribution level</vt:lpstr>
      <vt:lpstr>Statistics usage in SQL Pool databases – Summary</vt:lpstr>
      <vt:lpstr>Types of Statistics Objects – Distribution Level</vt:lpstr>
      <vt:lpstr>Stats In Action</vt:lpstr>
      <vt:lpstr>Statistics Candidates</vt:lpstr>
      <vt:lpstr>Lesson 2: Understanding Statistics Objects</vt:lpstr>
      <vt:lpstr>Objectives</vt:lpstr>
      <vt:lpstr>What are Statistics Objects?</vt:lpstr>
      <vt:lpstr>Table Level Statistics</vt:lpstr>
      <vt:lpstr>Showing Statistics</vt:lpstr>
      <vt:lpstr>What is in a Statistic Object</vt:lpstr>
      <vt:lpstr>Feature Support</vt:lpstr>
      <vt:lpstr>Lesson 3: Creating, Update, Drop Statistics</vt:lpstr>
      <vt:lpstr>Objectives</vt:lpstr>
      <vt:lpstr>Create Statistics DDL </vt:lpstr>
      <vt:lpstr>Auto Statistics</vt:lpstr>
      <vt:lpstr>Creating Stats – Best Practices</vt:lpstr>
      <vt:lpstr>If you don’t create stats straight away…</vt:lpstr>
      <vt:lpstr>Statistics Strategies – Single Column</vt:lpstr>
      <vt:lpstr>Statistics Strategies – Multi-Column</vt:lpstr>
      <vt:lpstr>Statistics Strategies – Filtered Stats</vt:lpstr>
      <vt:lpstr>Drop Statistics DDL</vt:lpstr>
      <vt:lpstr>Microsoft</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ynapse SQL Pools Statistics</dc:title>
  <dc:subject>&lt;Speech title here&gt;</dc:subject>
  <dc:creator>Nick Salch;Filipe.Moreira@microsoft.com</dc:creator>
  <cp:keywords/>
  <dc:description>Template: Maryfj_x000d_
Formatting: _x000d_
Audience Type:</dc:description>
  <cp:lastModifiedBy>John Deardurff</cp:lastModifiedBy>
  <cp:revision>9</cp:revision>
  <dcterms:created xsi:type="dcterms:W3CDTF">2018-01-26T18:32:04Z</dcterms:created>
  <dcterms:modified xsi:type="dcterms:W3CDTF">2022-04-21T01:02:35Z</dcterms:modified>
  <cp:category>Workshop Plu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44018ff3-f7cd-49ec-be29-23dee7970696</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Owner">
    <vt:lpwstr>sanair@microsoft.com</vt:lpwstr>
  </property>
  <property fmtid="{D5CDD505-2E9C-101B-9397-08002B2CF9AE}" pid="16" name="MSIP_Label_f42aa342-8706-4288-bd11-ebb85995028c_SetDate">
    <vt:lpwstr>2017-10-04T13:15:56.0607831-07:00</vt:lpwstr>
  </property>
  <property fmtid="{D5CDD505-2E9C-101B-9397-08002B2CF9AE}" pid="17" name="MSIP_Label_f42aa342-8706-4288-bd11-ebb85995028c_Name">
    <vt:lpwstr>General</vt:lpwstr>
  </property>
  <property fmtid="{D5CDD505-2E9C-101B-9397-08002B2CF9AE}" pid="18" name="MSIP_Label_f42aa342-8706-4288-bd11-ebb85995028c_Application">
    <vt:lpwstr>Microsoft Azure Information Protection</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y fmtid="{D5CDD505-2E9C-101B-9397-08002B2CF9AE}" pid="21" name="MediaServiceImageTags">
    <vt:lpwstr/>
  </property>
</Properties>
</file>